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8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7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41.xml" ContentType="application/vnd.openxmlformats-officedocument.presentationml.slide+xml"/>
  <Override PartName="/ppt/slides/slide14.xml" ContentType="application/vnd.openxmlformats-officedocument.presentationml.slide+xml"/>
  <Override PartName="/ppt/slides/slide6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9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2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20.xml" ContentType="application/vnd.openxmlformats-officedocument.presentationml.slide+xml"/>
  <Override PartName="/ppt/slides/slide11.xml" ContentType="application/vnd.openxmlformats-officedocument.presentationml.slide+xml"/>
  <Override PartName="/ppt/slides/slide21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10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42.xml" ContentType="application/vnd.openxmlformats-officedocument.presentationml.slide+xml"/>
  <Override PartName="/ppt/slides/slide40.xml" ContentType="application/vnd.openxmlformats-officedocument.presentationml.slide+xml"/>
  <Override PartName="/ppt/slides/slide4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s/slide46.xml" ContentType="application/vnd.openxmlformats-officedocument.presentationml.slide+xml"/>
  <Override PartName="/ppt/slides/slide4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29.xml" ContentType="application/vnd.openxmlformats-officedocument.presentationml.slideLayout+xml"/>
  <Override PartName="/ppt/notesSlides/notesSlide37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31.xml" ContentType="application/vnd.openxmlformats-officedocument.presentationml.slideLayout+xml"/>
  <Override PartName="/ppt/slideLayouts/slideLayout33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2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40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1.xml" ContentType="application/vnd.openxmlformats-officedocument.presentationml.tags+xml"/>
  <Override PartName="/ppt/tags/tag9.xml" ContentType="application/vnd.openxmlformats-officedocument.presentationml.tags+xml"/>
  <Override PartName="/ppt/tags/tag12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1.xml" ContentType="application/vnd.openxmlformats-officedocument.presentationml.tags+xml"/>
  <Override PartName="/ppt/tags/tag14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3.xml" ContentType="application/vnd.openxmlformats-officedocument.presentationml.tags+xml"/>
  <Override PartName="/ppt/tags/tag20.xml" ContentType="application/vnd.openxmlformats-officedocument.presentationml.tags+xml"/>
  <Override PartName="/ppt/tags/tag15.xml" ContentType="application/vnd.openxmlformats-officedocument.presentationml.tags+xml"/>
  <Override PartName="/ppt/tags/tag17.xml" ContentType="application/vnd.openxmlformats-officedocument.presentationml.tags+xml"/>
  <Override PartName="/ppt/tags/tag5.xml" ContentType="application/vnd.openxmlformats-officedocument.presentationml.tags+xml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32.xml" ContentType="application/vnd.openxmlformats-officedocument.presentationml.tags+xml"/>
  <Override PartName="/ppt/tags/tag24.xml" ContentType="application/vnd.openxmlformats-officedocument.presentationml.tags+xml"/>
  <Override PartName="/ppt/tags/tag59.xml" ContentType="application/vnd.openxmlformats-officedocument.presentationml.tags+xml"/>
  <Override PartName="/ppt/tags/tag79.xml" ContentType="application/vnd.openxmlformats-officedocument.presentationml.tags+xml"/>
  <Override PartName="/ppt/tags/tag60.xml" ContentType="application/vnd.openxmlformats-officedocument.presentationml.tags+xml"/>
  <Override PartName="/ppt/tags/tag78.xml" ContentType="application/vnd.openxmlformats-officedocument.presentationml.tags+xml"/>
  <Override PartName="/ppt/tags/tag61.xml" ContentType="application/vnd.openxmlformats-officedocument.presentationml.tags+xml"/>
  <Override PartName="/ppt/tags/tag5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56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57.xml" ContentType="application/vnd.openxmlformats-officedocument.presentationml.tags+xml"/>
  <Override PartName="/ppt/tags/tag77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73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2.xml" ContentType="application/vnd.openxmlformats-officedocument.presentationml.tags+xml"/>
  <Override PartName="/ppt/tags/tag70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74.xml" ContentType="application/vnd.openxmlformats-officedocument.presentationml.tags+xml"/>
  <Override PartName="/ppt/tags/tag76.xml" ContentType="application/vnd.openxmlformats-officedocument.presentationml.tags+xml"/>
  <Override PartName="/ppt/tags/tag64.xml" ContentType="application/vnd.openxmlformats-officedocument.presentationml.tags+xml"/>
  <Override PartName="/ppt/tags/tag75.xml" ContentType="application/vnd.openxmlformats-officedocument.presentationml.tags+xml"/>
  <Override PartName="/ppt/tags/tag65.xml" ContentType="application/vnd.openxmlformats-officedocument.presentationml.tags+xml"/>
  <Override PartName="/ppt/tags/tag55.xml" ContentType="application/vnd.openxmlformats-officedocument.presentationml.tags+xml"/>
  <Override PartName="/ppt/tags/tag23.xml" ContentType="application/vnd.openxmlformats-officedocument.presentationml.tags+xml"/>
  <Override PartName="/ppt/tags/tag5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33.xml" ContentType="application/vnd.openxmlformats-officedocument.presentationml.tags+xml"/>
  <Override PartName="/ppt/tags/tag71.xml" ContentType="application/vnd.openxmlformats-officedocument.presentationml.tags+xml"/>
  <Override PartName="/ppt/tags/tag31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54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51.xml" ContentType="application/vnd.openxmlformats-officedocument.presentationml.tags+xml"/>
  <Override PartName="/ppt/tags/tag47.xml" ContentType="application/vnd.openxmlformats-officedocument.presentationml.tags+xml"/>
  <Override PartName="/ppt/tags/tag44.xml" ContentType="application/vnd.openxmlformats-officedocument.presentationml.tags+xml"/>
  <Override PartName="/ppt/tags/tag48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3" r:id="rId2"/>
    <p:sldMasterId id="2147483720" r:id="rId3"/>
  </p:sldMasterIdLst>
  <p:notesMasterIdLst>
    <p:notesMasterId r:id="rId52"/>
  </p:notesMasterIdLst>
  <p:handoutMasterIdLst>
    <p:handoutMasterId r:id="rId53"/>
  </p:handoutMasterIdLst>
  <p:sldIdLst>
    <p:sldId id="452" r:id="rId4"/>
    <p:sldId id="2147472666" r:id="rId5"/>
    <p:sldId id="2147472597" r:id="rId6"/>
    <p:sldId id="2147472598" r:id="rId7"/>
    <p:sldId id="2147472602" r:id="rId8"/>
    <p:sldId id="2147472668" r:id="rId9"/>
    <p:sldId id="2147472669" r:id="rId10"/>
    <p:sldId id="2147472670" r:id="rId11"/>
    <p:sldId id="2147472671" r:id="rId12"/>
    <p:sldId id="2147472672" r:id="rId13"/>
    <p:sldId id="2147472673" r:id="rId14"/>
    <p:sldId id="2147472674" r:id="rId15"/>
    <p:sldId id="2147472675" r:id="rId16"/>
    <p:sldId id="2147472676" r:id="rId17"/>
    <p:sldId id="2147472677" r:id="rId18"/>
    <p:sldId id="2147472678" r:id="rId19"/>
    <p:sldId id="2147472679" r:id="rId20"/>
    <p:sldId id="2147472680" r:id="rId21"/>
    <p:sldId id="2147472681" r:id="rId22"/>
    <p:sldId id="2147472682" r:id="rId23"/>
    <p:sldId id="2147472683" r:id="rId24"/>
    <p:sldId id="2147472684" r:id="rId25"/>
    <p:sldId id="2147472685" r:id="rId26"/>
    <p:sldId id="2147472686" r:id="rId27"/>
    <p:sldId id="2147472687" r:id="rId28"/>
    <p:sldId id="2147472688" r:id="rId29"/>
    <p:sldId id="2147472689" r:id="rId30"/>
    <p:sldId id="2147472690" r:id="rId31"/>
    <p:sldId id="2147472691" r:id="rId32"/>
    <p:sldId id="2147472692" r:id="rId33"/>
    <p:sldId id="2147472693" r:id="rId34"/>
    <p:sldId id="2147472694" r:id="rId35"/>
    <p:sldId id="2147472695" r:id="rId36"/>
    <p:sldId id="2147472696" r:id="rId37"/>
    <p:sldId id="2147472697" r:id="rId38"/>
    <p:sldId id="2147472698" r:id="rId39"/>
    <p:sldId id="2147472699" r:id="rId40"/>
    <p:sldId id="2147472700" r:id="rId41"/>
    <p:sldId id="2147472701" r:id="rId42"/>
    <p:sldId id="2147472702" r:id="rId43"/>
    <p:sldId id="2147472703" r:id="rId44"/>
    <p:sldId id="2147472704" r:id="rId45"/>
    <p:sldId id="2147472705" r:id="rId46"/>
    <p:sldId id="2147472706" r:id="rId47"/>
    <p:sldId id="2147472707" r:id="rId48"/>
    <p:sldId id="2147472709" r:id="rId49"/>
    <p:sldId id="2147472710" r:id="rId50"/>
    <p:sldId id="2147472708" r:id="rId51"/>
  </p:sldIdLst>
  <p:sldSz cx="12192000" cy="6858000"/>
  <p:notesSz cx="6858000" cy="9144000"/>
  <p:custDataLst>
    <p:tags r:id="rId54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lrVETsbk/CGD9JjK09JZKA==" hashData="rqsW72d1NV13fnSnVFfyrUAbebcxIfYV6JvzLJFWkS1Xm1V7Ek+4qto961g64ByLKBkNtM883j3NzZ+z2yxHwg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88" autoAdjust="0"/>
    <p:restoredTop sz="94061" autoAdjust="0"/>
  </p:normalViewPr>
  <p:slideViewPr>
    <p:cSldViewPr snapToGrid="0">
      <p:cViewPr varScale="1">
        <p:scale>
          <a:sx n="73" d="100"/>
          <a:sy n="73" d="100"/>
        </p:scale>
        <p:origin x="436" y="36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presProps" Target="presProps.xml"/><Relationship Id="rId63" Type="http://schemas.openxmlformats.org/officeDocument/2006/relationships/customXml" Target="../customXml/item3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customXml" Target="../customXml/item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microsoft.com/office/2015/10/relationships/revisionInfo" Target="revisionInfo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gs" Target="tags/tag1.xml"/><Relationship Id="rId62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notesMaster" Target="notesMasters/notesMaster1.xml"/><Relationship Id="rId60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30-01-2025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30-01-2025</a:t>
            </a:fld>
            <a:endParaRPr lang="es-C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66960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437530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60898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802717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348152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150920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212530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460390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898172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4094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87970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8157730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803925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915874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000824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3130205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445470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70027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4285036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8390467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88944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22696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375736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147535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234162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0258843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581275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024701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4286470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7687761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5841050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3289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9208785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2891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47199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7693657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351152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17388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031859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1092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69127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709531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45146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0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056459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94936" y="6307024"/>
            <a:ext cx="103966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u="none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35" name="Marcador de texto 7">
            <a:extLst>
              <a:ext uri="{FF2B5EF4-FFF2-40B4-BE49-F238E27FC236}">
                <a16:creationId xmlns="" xmlns:a16="http://schemas.microsoft.com/office/drawing/2014/main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085" y="4957143"/>
            <a:ext cx="4989786" cy="1143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  <a:br>
              <a:rPr lang="es-ES" dirty="0"/>
            </a:br>
            <a:r>
              <a:rPr lang="es-ES" dirty="0"/>
              <a:t>Arial Bold - 30 puntos</a:t>
            </a:r>
            <a:endParaRPr lang="es-CL" dirty="0"/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6684D6C2-8FED-B52F-0DE2-7AC39638A0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25934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55288D1B-98A4-32E3-8DB4-CCBE19B84F9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59474" y="2512390"/>
            <a:ext cx="4473053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7945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68997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AD3C91F-24C9-937E-CAD8-008A6BCF7E99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BECB94EE-2021-766E-66DF-A02E74D7DA1A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784DA957-7346-8A14-74C3-09C332D9867D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41935EE7-2010-DB0E-6C3A-AC90D27A85D5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7C14BBD-5910-AA0B-FA10-89E9320D26CE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426E49CE-8D77-9EFE-34DD-2EB4C78A08C7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D172806-E0A8-B922-23CD-E04F500955B5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AA27AEF8-B9C0-93A0-8845-A752493B5842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EF9FAB4C-032F-599C-A2B8-4AF8DBF26325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C99CA4D3-9B09-FFC7-2982-9EB313F7B3E9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E87D6726-AA9A-125F-35D7-F17ABD668B3B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46669984-4816-DF96-05FD-DB4F32E1D237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6462527A-413E-08BC-6BAB-21B40FFBE75A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D8D87479-B62F-508C-CDEC-C459FACFB58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9" name="Marcador de número de diapositiva 1">
            <a:extLst>
              <a:ext uri="{FF2B5EF4-FFF2-40B4-BE49-F238E27FC236}">
                <a16:creationId xmlns="" xmlns:a16="http://schemas.microsoft.com/office/drawing/2014/main" id="{4A8CA278-5EA4-F2D1-645A-2841FE908A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7B7BA8A6-132C-AE42-B46A-523DDA5471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EFFB580F-43F1-D169-9FBA-E4BD07DEF46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63A156A8-1ECD-9141-544B-166421C124E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CD5E070D-3F3B-1B6F-3AB7-9379AABAD1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38567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342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anja 1/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FE66F47F-72C7-BAE4-A47A-FB881F895DC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5" name="Marcador de número de diapositiva 1">
            <a:extLst>
              <a:ext uri="{FF2B5EF4-FFF2-40B4-BE49-F238E27FC236}">
                <a16:creationId xmlns="" xmlns:a16="http://schemas.microsoft.com/office/drawing/2014/main" id="{54856A64-3944-D063-A51A-843A25CACD1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BB13BA6-FEB8-A8D9-5534-1EFF3038A5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BDF55F6-86E9-D30E-473D-03D8AB6ED51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3071ADB6-042E-C07F-156D-FE614C27E06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8057293C-3509-6315-A576-6CEBF8FF5C7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94059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5E0497F8-A2FD-49A7-2776-B541B2C608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1670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1366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Arial</a:t>
            </a:r>
            <a:br>
              <a:rPr lang="es-ES" dirty="0">
                <a:solidFill>
                  <a:schemeClr val="bg2"/>
                </a:solidFill>
              </a:rPr>
            </a:br>
            <a:r>
              <a:rPr lang="es-ES" dirty="0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9D7B7004-52BB-B5F0-4E28-4F86D8D4781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08EA6602-AC03-7B3E-9195-835BCBF5F9C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501FF1B-BD4D-A157-0E36-74D11CCC3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F8B2E1C-3612-5603-0BF4-77D309DEC3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CA188178-0E47-0073-F8C7-CEABECF512B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0F1CF61F-F315-E01E-9B5C-4E1A830AC3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78316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3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3617606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0844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19802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653" y="1589782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3" y="3199250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653" y="4808718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9E9C22AF-E388-556C-4E40-782807F42A9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5C50D126-ACFF-8254-BC9B-5257DAE7AAB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05375231-091A-3750-BE08-97BEB30D04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C071937-690E-BA6A-1309-B62976822B8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EA2A2096-C900-949A-CDD7-F85753C279C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B27470B5-6416-9AA9-0A36-EB3F1CAEB9D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318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2140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162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3C80AA98-DF0A-D558-4346-340778DB86D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56694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AE4C7EE8-3C8D-3F09-779E-F218E79787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5038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5343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454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6618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591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4751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9494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1130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2863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6008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7025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241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9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906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9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vmlDrawing" Target="../drawings/vmlDrawing11.v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11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" name="Diapositiva de think-cell" r:id="rId16" imgW="415" imgH="416" progId="TCLayout.ActiveDocument.1">
                  <p:embed/>
                </p:oleObj>
              </mc:Choice>
              <mc:Fallback>
                <p:oleObj name="Diapositiva de think-cell" r:id="rId16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702" r:id="rId6"/>
    <p:sldLayoutId id="2147483666" r:id="rId7"/>
    <p:sldLayoutId id="2147483699" r:id="rId8"/>
    <p:sldLayoutId id="2147483689" r:id="rId9"/>
    <p:sldLayoutId id="2147483696" r:id="rId10"/>
    <p:sldLayoutId id="2147483695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6" name="Diapositiva de think-cell" r:id="rId21" imgW="415" imgH="416" progId="TCLayout.ActiveDocument.1">
                  <p:embed/>
                </p:oleObj>
              </mc:Choice>
              <mc:Fallback>
                <p:oleObj name="Diapositiva de think-cell" r:id="rId2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9"/>
    </p:custDataLst>
    <p:extLst>
      <p:ext uri="{BB962C8B-B14F-4D97-AF65-F5344CB8AC3E}">
        <p14:creationId xmlns:p14="http://schemas.microsoft.com/office/powerpoint/2010/main" val="279505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6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6" Type="http://schemas.openxmlformats.org/officeDocument/2006/relationships/image" Target="../media/image13.sv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3.xml"/><Relationship Id="rId5" Type="http://schemas.openxmlformats.org/officeDocument/2006/relationships/image" Target="../media/image28.emf"/><Relationship Id="rId4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5" Type="http://schemas.openxmlformats.org/officeDocument/2006/relationships/image" Target="../media/image28.emf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5.xml"/><Relationship Id="rId4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6.xml"/><Relationship Id="rId4" Type="http://schemas.openxmlformats.org/officeDocument/2006/relationships/image" Target="../media/image3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7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8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4" Type="http://schemas.openxmlformats.org/officeDocument/2006/relationships/image" Target="../media/image3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1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4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4.xml"/><Relationship Id="rId4" Type="http://schemas.openxmlformats.org/officeDocument/2006/relationships/image" Target="../media/image4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5.xml"/><Relationship Id="rId4" Type="http://schemas.openxmlformats.org/officeDocument/2006/relationships/image" Target="../media/image4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Relationship Id="rId4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7.xml"/><Relationship Id="rId4" Type="http://schemas.openxmlformats.org/officeDocument/2006/relationships/image" Target="../media/image4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8.xml"/><Relationship Id="rId5" Type="http://schemas.openxmlformats.org/officeDocument/2006/relationships/image" Target="../media/image48.emf"/><Relationship Id="rId4" Type="http://schemas.openxmlformats.org/officeDocument/2006/relationships/image" Target="../media/image2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9.xml"/><Relationship Id="rId4" Type="http://schemas.openxmlformats.org/officeDocument/2006/relationships/image" Target="../media/image4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0.xml"/><Relationship Id="rId4" Type="http://schemas.openxmlformats.org/officeDocument/2006/relationships/image" Target="../media/image26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1.xml"/><Relationship Id="rId4" Type="http://schemas.openxmlformats.org/officeDocument/2006/relationships/image" Target="../media/image49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4" Type="http://schemas.openxmlformats.org/officeDocument/2006/relationships/image" Target="../media/image2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4" Type="http://schemas.openxmlformats.org/officeDocument/2006/relationships/image" Target="../media/image22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4" Type="http://schemas.openxmlformats.org/officeDocument/2006/relationships/image" Target="../media/image49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Relationship Id="rId4" Type="http://schemas.openxmlformats.org/officeDocument/2006/relationships/image" Target="../media/image26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5.xml"/><Relationship Id="rId4" Type="http://schemas.openxmlformats.org/officeDocument/2006/relationships/image" Target="../media/image50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6.xml"/><Relationship Id="rId4" Type="http://schemas.openxmlformats.org/officeDocument/2006/relationships/image" Target="../media/image50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7.xml"/><Relationship Id="rId4" Type="http://schemas.openxmlformats.org/officeDocument/2006/relationships/image" Target="../media/image5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8.xml"/><Relationship Id="rId4" Type="http://schemas.openxmlformats.org/officeDocument/2006/relationships/image" Target="../media/image47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9.xml"/><Relationship Id="rId4" Type="http://schemas.openxmlformats.org/officeDocument/2006/relationships/image" Target="../media/image47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0.xml"/><Relationship Id="rId4" Type="http://schemas.openxmlformats.org/officeDocument/2006/relationships/image" Target="../media/image51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1.xml"/><Relationship Id="rId4" Type="http://schemas.openxmlformats.org/officeDocument/2006/relationships/image" Target="../media/image52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2.xml"/><Relationship Id="rId4" Type="http://schemas.openxmlformats.org/officeDocument/2006/relationships/image" Target="../media/image5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4" Type="http://schemas.openxmlformats.org/officeDocument/2006/relationships/image" Target="../media/image23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3.xml"/><Relationship Id="rId4" Type="http://schemas.openxmlformats.org/officeDocument/2006/relationships/image" Target="../media/image5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4.xml"/><Relationship Id="rId4" Type="http://schemas.openxmlformats.org/officeDocument/2006/relationships/image" Target="../media/image55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5.xml"/><Relationship Id="rId4" Type="http://schemas.openxmlformats.org/officeDocument/2006/relationships/image" Target="../media/image55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6.xml"/><Relationship Id="rId4" Type="http://schemas.openxmlformats.org/officeDocument/2006/relationships/image" Target="../media/image5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7.xml"/><Relationship Id="rId4" Type="http://schemas.openxmlformats.org/officeDocument/2006/relationships/image" Target="../media/image53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8.xml"/><Relationship Id="rId4" Type="http://schemas.openxmlformats.org/officeDocument/2006/relationships/image" Target="../media/image53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9.xml"/><Relationship Id="rId6" Type="http://schemas.openxmlformats.org/officeDocument/2006/relationships/image" Target="../media/image59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0.xml"/><Relationship Id="rId6" Type="http://schemas.openxmlformats.org/officeDocument/2006/relationships/image" Target="../media/image60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4" Type="http://schemas.openxmlformats.org/officeDocument/2006/relationships/image" Target="../media/image2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5" Type="http://schemas.openxmlformats.org/officeDocument/2006/relationships/image" Target="../media/image28.emf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 descr="A picture containing outdoor&#10;&#10;Description automatically generated">
            <a:extLst>
              <a:ext uri="{FF2B5EF4-FFF2-40B4-BE49-F238E27FC236}">
                <a16:creationId xmlns="" xmlns:a16="http://schemas.microsoft.com/office/drawing/2014/main" id="{E1684E80-FD05-8249-8FF4-75B75073D01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9" t="6828" r="2373" b="875"/>
          <a:stretch/>
        </p:blipFill>
        <p:spPr>
          <a:xfrm>
            <a:off x="0" y="0"/>
            <a:ext cx="12217400" cy="6959600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5177790"/>
            <a:ext cx="3495208" cy="1205465"/>
          </a:xfrm>
        </p:spPr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El asbesto y los riesgos asociados</a:t>
            </a:r>
          </a:p>
          <a:p>
            <a:endParaRPr lang="es-CL" dirty="0">
              <a:latin typeface="ACHS Nueva Serif" pitchFamily="2" charset="77"/>
            </a:endParaRPr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B9AAB87F-0217-49FC-8A93-1B1E478797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7E0C2104-DC15-7C4B-BD0B-23CF23EA3110}"/>
              </a:ext>
            </a:extLst>
          </p:cNvPr>
          <p:cNvSpPr/>
          <p:nvPr/>
        </p:nvSpPr>
        <p:spPr>
          <a:xfrm>
            <a:off x="449263" y="4637989"/>
            <a:ext cx="2552616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</a:t>
            </a:r>
            <a:r>
              <a:rPr lang="es-CL">
                <a:solidFill>
                  <a:schemeClr val="bg2"/>
                </a:solidFill>
                <a:latin typeface="ACHS Nueva Sans Medium" pitchFamily="2" charset="77"/>
              </a:rPr>
              <a:t>/ </a:t>
            </a:r>
            <a:r>
              <a:rPr lang="es-CL" smtClean="0">
                <a:solidFill>
                  <a:schemeClr val="bg2"/>
                </a:solidFill>
                <a:latin typeface="ACHS Nueva Sans Medium" pitchFamily="2" charset="77"/>
              </a:rPr>
              <a:t>Presencial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http://medicablogs.diariomedico.com/jmsanz/files/2011/09/Chrysotile_UICCB.jpg">
            <a:extLst>
              <a:ext uri="{FF2B5EF4-FFF2-40B4-BE49-F238E27FC236}">
                <a16:creationId xmlns="" xmlns:a16="http://schemas.microsoft.com/office/drawing/2014/main" id="{A392BDA8-174E-AC42-B47E-3D7FD11A36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3379758" y="1944274"/>
            <a:ext cx="4414280" cy="441428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9BBE0C50-1052-8F4C-8503-7DC30A29AF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0660" y="1685176"/>
            <a:ext cx="4932476" cy="493247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lasificación del asbesto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473C4A73-855E-734F-8643-8B4A7907D9FA}"/>
              </a:ext>
            </a:extLst>
          </p:cNvPr>
          <p:cNvSpPr txBox="1">
            <a:spLocks/>
          </p:cNvSpPr>
          <p:nvPr/>
        </p:nvSpPr>
        <p:spPr>
          <a:xfrm>
            <a:off x="3120660" y="962427"/>
            <a:ext cx="3393786" cy="523874"/>
          </a:xfrm>
          <a:prstGeom prst="rect">
            <a:avLst/>
          </a:prstGeom>
          <a:solidFill>
            <a:schemeClr val="accent1"/>
          </a:solidFill>
        </p:spPr>
        <p:txBody>
          <a:bodyPr vert="horz" lIns="108000" tIns="10800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solidFill>
                  <a:schemeClr val="bg1"/>
                </a:solidFill>
                <a:latin typeface="ACHS Nueva Serif" pitchFamily="2" charset="77"/>
              </a:rPr>
              <a:t>Microscopía electrónica:</a:t>
            </a:r>
          </a:p>
        </p:txBody>
      </p:sp>
      <p:sp>
        <p:nvSpPr>
          <p:cNvPr id="9" name="Marcador de texto 5">
            <a:extLst>
              <a:ext uri="{FF2B5EF4-FFF2-40B4-BE49-F238E27FC236}">
                <a16:creationId xmlns="" xmlns:a16="http://schemas.microsoft.com/office/drawing/2014/main" id="{D78EF331-0F53-DA42-BE6E-8056559F0B52}"/>
              </a:ext>
            </a:extLst>
          </p:cNvPr>
          <p:cNvSpPr txBox="1">
            <a:spLocks/>
          </p:cNvSpPr>
          <p:nvPr/>
        </p:nvSpPr>
        <p:spPr>
          <a:xfrm>
            <a:off x="8354764" y="5498115"/>
            <a:ext cx="2746373" cy="1119537"/>
          </a:xfrm>
          <a:prstGeom prst="rect">
            <a:avLst/>
          </a:prstGeom>
          <a:solidFill>
            <a:schemeClr val="accent1"/>
          </a:solidFill>
        </p:spPr>
        <p:txBody>
          <a:bodyPr lIns="144000" tIns="14400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dirty="0">
                <a:solidFill>
                  <a:schemeClr val="bg1"/>
                </a:solidFill>
                <a:effectLst/>
                <a:latin typeface="ACHS Nueva Sans Medium" pitchFamily="2" charset="77"/>
              </a:rPr>
              <a:t>Asbesto del tipo Serpentina (crisotilo). Fibras flexibles e hilable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268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>
            <a:extLst>
              <a:ext uri="{FF2B5EF4-FFF2-40B4-BE49-F238E27FC236}">
                <a16:creationId xmlns="" xmlns:a16="http://schemas.microsoft.com/office/drawing/2014/main" id="{8C30FDA0-D604-6348-BB67-B487949FE9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53588" y="1894809"/>
            <a:ext cx="4466620" cy="446662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9BBE0C50-1052-8F4C-8503-7DC30A29AF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0660" y="1685176"/>
            <a:ext cx="4932476" cy="493247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lasificación del asbesto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473C4A73-855E-734F-8643-8B4A7907D9FA}"/>
              </a:ext>
            </a:extLst>
          </p:cNvPr>
          <p:cNvSpPr txBox="1">
            <a:spLocks/>
          </p:cNvSpPr>
          <p:nvPr/>
        </p:nvSpPr>
        <p:spPr>
          <a:xfrm>
            <a:off x="3120660" y="962427"/>
            <a:ext cx="3393786" cy="523874"/>
          </a:xfrm>
          <a:prstGeom prst="rect">
            <a:avLst/>
          </a:prstGeom>
          <a:solidFill>
            <a:schemeClr val="accent1"/>
          </a:solidFill>
        </p:spPr>
        <p:txBody>
          <a:bodyPr vert="horz" lIns="108000" tIns="10800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solidFill>
                  <a:schemeClr val="bg1"/>
                </a:solidFill>
                <a:latin typeface="ACHS Nueva Serif" pitchFamily="2" charset="77"/>
              </a:rPr>
              <a:t>Microscopía electrónica:</a:t>
            </a:r>
          </a:p>
        </p:txBody>
      </p:sp>
      <p:sp>
        <p:nvSpPr>
          <p:cNvPr id="9" name="Marcador de texto 5">
            <a:extLst>
              <a:ext uri="{FF2B5EF4-FFF2-40B4-BE49-F238E27FC236}">
                <a16:creationId xmlns="" xmlns:a16="http://schemas.microsoft.com/office/drawing/2014/main" id="{D78EF331-0F53-DA42-BE6E-8056559F0B52}"/>
              </a:ext>
            </a:extLst>
          </p:cNvPr>
          <p:cNvSpPr txBox="1">
            <a:spLocks/>
          </p:cNvSpPr>
          <p:nvPr/>
        </p:nvSpPr>
        <p:spPr>
          <a:xfrm>
            <a:off x="8354764" y="4989095"/>
            <a:ext cx="2980905" cy="1628557"/>
          </a:xfrm>
          <a:prstGeom prst="rect">
            <a:avLst/>
          </a:prstGeom>
          <a:solidFill>
            <a:schemeClr val="accent1"/>
          </a:solidFill>
        </p:spPr>
        <p:txBody>
          <a:bodyPr lIns="144000" tIns="14400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b="1" dirty="0">
                <a:solidFill>
                  <a:schemeClr val="bg1"/>
                </a:solidFill>
                <a:effectLst/>
                <a:latin typeface="ACHS Nueva Sans Medium" pitchFamily="2" charset="77"/>
              </a:rPr>
              <a:t>Asbesto del tipo anfibolita: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bg1"/>
                </a:solidFill>
                <a:effectLst/>
                <a:latin typeface="ACHS Nueva Sans Medium" pitchFamily="2" charset="77"/>
              </a:rPr>
              <a:t>8um de largo y menos  de 0,5um de grosor, más peligrosas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dirty="0">
              <a:solidFill>
                <a:schemeClr val="bg1"/>
              </a:solidFill>
              <a:effectLst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710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A picture containing roof&#10;&#10;Description automatically generated">
            <a:extLst>
              <a:ext uri="{FF2B5EF4-FFF2-40B4-BE49-F238E27FC236}">
                <a16:creationId xmlns="" xmlns:a16="http://schemas.microsoft.com/office/drawing/2014/main" id="{D1A04AAE-8353-CF4D-9B31-38B0A047BCB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91" r="6230" b="30440"/>
          <a:stretch/>
        </p:blipFill>
        <p:spPr>
          <a:xfrm>
            <a:off x="4473575" y="1538289"/>
            <a:ext cx="7718425" cy="531971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¿Por qué se usó el asbesto?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El asbesto combinó un precio bajo con excelentes cualidades técnicas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983748" cy="507857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ncombustible (Resiste temperatura sobre 1.000 – 1.500ºC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)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lto aislamiento (eléctrico, térmico y acústico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)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eutralidad química (resistente a ácidos y álcalis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) 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Fácil de combinar con otros materiales (entre otros hormigón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)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sistente contra la tracción (hasta 2.000 MPa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)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sistente al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desgaste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sistente a la degradación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microbiológica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7482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="" xmlns:a16="http://schemas.microsoft.com/office/drawing/2014/main" id="{0A8AFB50-EDA6-1144-84E8-B6F1411A9F7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8" t="23678" r="2326" b="18103"/>
          <a:stretch/>
        </p:blipFill>
        <p:spPr>
          <a:xfrm>
            <a:off x="4473574" y="1538289"/>
            <a:ext cx="7718426" cy="5319711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¿Por qué se usó el asbesto?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Estas características hicieron que se usara en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743642" cy="247247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ducto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textiles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Balatas de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freno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islante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térmicos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teriales de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onstrucción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679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Material aislante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743642" cy="33197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ra controlar traspaso térmico o para prevenir la condensación en los tubos y uniones de tubos, calderas, tanques, ductos, y otras partes de los sistemas de agua caliente y fría; calefacción, ventilación, y sistemas de aire acondicionado u otros sistemas mecánicos.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="" xmlns:a16="http://schemas.microsoft.com/office/drawing/2014/main" id="{3F54B7E7-9FB3-694E-BA5F-6A04F99B7CE2}"/>
              </a:ext>
            </a:extLst>
          </p:cNvPr>
          <p:cNvGrpSpPr/>
          <p:nvPr/>
        </p:nvGrpSpPr>
        <p:grpSpPr>
          <a:xfrm>
            <a:off x="4071602" y="3041640"/>
            <a:ext cx="7671135" cy="3319789"/>
            <a:chOff x="4363890" y="2023457"/>
            <a:chExt cx="7693790" cy="3329593"/>
          </a:xfrm>
        </p:grpSpPr>
        <p:pic>
          <p:nvPicPr>
            <p:cNvPr id="9" name="Picture 7">
              <a:extLst>
                <a:ext uri="{FF2B5EF4-FFF2-40B4-BE49-F238E27FC236}">
                  <a16:creationId xmlns="" xmlns:a16="http://schemas.microsoft.com/office/drawing/2014/main" id="{D5B59FFE-F62C-9241-A761-3AB2E2D4FE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4363890" y="2023457"/>
              <a:ext cx="4984625" cy="332959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>
              <a:extLst>
                <a:ext uri="{FF2B5EF4-FFF2-40B4-BE49-F238E27FC236}">
                  <a16:creationId xmlns="" xmlns:a16="http://schemas.microsoft.com/office/drawing/2014/main" id="{B34B1D67-58C5-FE46-810C-A5CA9DF2E1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71" t="1727" r="13021" b="14574"/>
            <a:stretch/>
          </p:blipFill>
          <p:spPr bwMode="auto">
            <a:xfrm>
              <a:off x="9348515" y="2057120"/>
              <a:ext cx="2709165" cy="326226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81254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036562"/>
            <a:ext cx="9865812" cy="356282"/>
          </a:xfrm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Ductos de calefacción 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="" xmlns:a16="http://schemas.microsoft.com/office/drawing/2014/main" id="{174D9372-8D16-B949-87E6-D7F0F61B957A}"/>
              </a:ext>
            </a:extLst>
          </p:cNvPr>
          <p:cNvGrpSpPr/>
          <p:nvPr/>
        </p:nvGrpSpPr>
        <p:grpSpPr>
          <a:xfrm>
            <a:off x="1176528" y="2177888"/>
            <a:ext cx="10105987" cy="3287268"/>
            <a:chOff x="1176528" y="2177888"/>
            <a:chExt cx="10105987" cy="3287268"/>
          </a:xfrm>
        </p:grpSpPr>
        <p:pic>
          <p:nvPicPr>
            <p:cNvPr id="11" name="Picture 10">
              <a:extLst>
                <a:ext uri="{FF2B5EF4-FFF2-40B4-BE49-F238E27FC236}">
                  <a16:creationId xmlns="" xmlns:a16="http://schemas.microsoft.com/office/drawing/2014/main" id="{D83A23D2-7AB2-0E47-ADB3-273E4329E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76528" y="2177888"/>
              <a:ext cx="4919472" cy="328726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Imagen 11">
              <a:extLst>
                <a:ext uri="{FF2B5EF4-FFF2-40B4-BE49-F238E27FC236}">
                  <a16:creationId xmlns="" xmlns:a16="http://schemas.microsoft.com/office/drawing/2014/main" id="{8040AC84-B62E-E348-9B59-B78F45B9F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26254" y="2194521"/>
              <a:ext cx="5056261" cy="327063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82154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Material de Ignifugación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3"/>
            <a:ext cx="2743642" cy="27195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erosol aplicado generalmente a las vigas de acero usadas en la construcción de los edificios para evitar que los miembros estructurales cambien o se derrumben en el acontecimiento del fuego.</a:t>
            </a:r>
          </a:p>
        </p:txBody>
      </p:sp>
      <p:grpSp>
        <p:nvGrpSpPr>
          <p:cNvPr id="22" name="Grupo 21">
            <a:extLst>
              <a:ext uri="{FF2B5EF4-FFF2-40B4-BE49-F238E27FC236}">
                <a16:creationId xmlns="" xmlns:a16="http://schemas.microsoft.com/office/drawing/2014/main" id="{2F2E6EFE-38ED-1041-B1C2-41352AF39607}"/>
              </a:ext>
            </a:extLst>
          </p:cNvPr>
          <p:cNvGrpSpPr/>
          <p:nvPr/>
        </p:nvGrpSpPr>
        <p:grpSpPr>
          <a:xfrm>
            <a:off x="6460575" y="890949"/>
            <a:ext cx="3585989" cy="5544879"/>
            <a:chOff x="5825067" y="1020445"/>
            <a:chExt cx="3585989" cy="5544879"/>
          </a:xfrm>
        </p:grpSpPr>
        <p:pic>
          <p:nvPicPr>
            <p:cNvPr id="23" name="Picture 15">
              <a:extLst>
                <a:ext uri="{FF2B5EF4-FFF2-40B4-BE49-F238E27FC236}">
                  <a16:creationId xmlns="" xmlns:a16="http://schemas.microsoft.com/office/drawing/2014/main" id="{A3EC0509-A731-1145-8273-2098E904DA3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825067" y="3845783"/>
              <a:ext cx="3585989" cy="271954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14">
              <a:extLst>
                <a:ext uri="{FF2B5EF4-FFF2-40B4-BE49-F238E27FC236}">
                  <a16:creationId xmlns="" xmlns:a16="http://schemas.microsoft.com/office/drawing/2014/main" id="{8334060C-ACC7-CF4B-B170-9CE371BCF6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825067" y="1020445"/>
              <a:ext cx="3585989" cy="26997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94375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47217C0A-716A-4740-99FA-CA38ED033F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63" b="2450"/>
          <a:stretch/>
        </p:blipFill>
        <p:spPr bwMode="auto">
          <a:xfrm>
            <a:off x="4458388" y="1516162"/>
            <a:ext cx="7733612" cy="53926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Materiales misceláneos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743642" cy="46109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asbesto se ha agregado al asfalto, vinilo, cemento y otros materiales para hacer productos como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Fieltros para techos,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ipios exteriores de estacionamientos, cartón de yeso,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ubos para abastecimiento de agua, chimeneas de combustión, y tubos para gase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2130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4021138" cy="523873"/>
          </a:xfrm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Materiales de construcción que contienen asbesto (MCCA)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35469"/>
            <a:ext cx="2743642" cy="38626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zulejos del suelo, 9 pulgada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especialmente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Base del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vinilo 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silla (pegamento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)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teriales para techo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tejas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Juntas en el equipo de calefacción y del aire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acondicionado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="" xmlns:a16="http://schemas.microsoft.com/office/drawing/2014/main" id="{33362A30-B2C6-644F-AF03-8B05FE82D7BB}"/>
              </a:ext>
            </a:extLst>
          </p:cNvPr>
          <p:cNvGrpSpPr/>
          <p:nvPr/>
        </p:nvGrpSpPr>
        <p:grpSpPr>
          <a:xfrm>
            <a:off x="6620934" y="982669"/>
            <a:ext cx="3494981" cy="5568249"/>
            <a:chOff x="5184584" y="496571"/>
            <a:chExt cx="4600790" cy="7330038"/>
          </a:xfrm>
        </p:grpSpPr>
        <p:pic>
          <p:nvPicPr>
            <p:cNvPr id="11" name="Picture 10">
              <a:extLst>
                <a:ext uri="{FF2B5EF4-FFF2-40B4-BE49-F238E27FC236}">
                  <a16:creationId xmlns="" xmlns:a16="http://schemas.microsoft.com/office/drawing/2014/main" id="{892867B3-90B4-0040-8AE6-2706026472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184585" y="4280330"/>
              <a:ext cx="4600789" cy="309779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8">
              <a:extLst>
                <a:ext uri="{FF2B5EF4-FFF2-40B4-BE49-F238E27FC236}">
                  <a16:creationId xmlns="" xmlns:a16="http://schemas.microsoft.com/office/drawing/2014/main" id="{F051E3FB-1B74-5749-A94E-7DBA62E8526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5184584" y="496571"/>
              <a:ext cx="4600790" cy="307936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4">
              <a:extLst>
                <a:ext uri="{FF2B5EF4-FFF2-40B4-BE49-F238E27FC236}">
                  <a16:creationId xmlns="" xmlns:a16="http://schemas.microsoft.com/office/drawing/2014/main" id="{655E8D3A-9ACB-694C-9AC4-F8AFF8A5B89F}"/>
                </a:ext>
              </a:extLst>
            </p:cNvPr>
            <p:cNvSpPr/>
            <p:nvPr/>
          </p:nvSpPr>
          <p:spPr>
            <a:xfrm>
              <a:off x="5184584" y="3636861"/>
              <a:ext cx="4600790" cy="399179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>
              <a:noAutofit/>
            </a:bodyPr>
            <a:lstStyle/>
            <a:p>
              <a:r>
                <a:rPr lang="es-ES" sz="1600" i="1" dirty="0">
                  <a:solidFill>
                    <a:schemeClr val="bg1"/>
                  </a:solidFill>
                  <a:latin typeface="ACHS Nueva Sans Medium" pitchFamily="2" charset="77"/>
                  <a:cs typeface="Arial" panose="020B0604020202020204" pitchFamily="34" charset="0"/>
                </a:rPr>
                <a:t>Techumbres y fieltros </a:t>
              </a:r>
              <a:endParaRPr lang="es-ES" sz="16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4" name="Rectangle 4">
              <a:extLst>
                <a:ext uri="{FF2B5EF4-FFF2-40B4-BE49-F238E27FC236}">
                  <a16:creationId xmlns="" xmlns:a16="http://schemas.microsoft.com/office/drawing/2014/main" id="{79C2E94B-48B3-F34B-8264-2C2283B49DD6}"/>
                </a:ext>
              </a:extLst>
            </p:cNvPr>
            <p:cNvSpPr/>
            <p:nvPr/>
          </p:nvSpPr>
          <p:spPr>
            <a:xfrm>
              <a:off x="5184584" y="7439055"/>
              <a:ext cx="4600790" cy="387554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>
              <a:noAutofit/>
            </a:bodyPr>
            <a:lstStyle/>
            <a:p>
              <a:r>
                <a:rPr lang="es-ES" sz="1600" i="1" dirty="0">
                  <a:solidFill>
                    <a:schemeClr val="bg1"/>
                  </a:solidFill>
                  <a:latin typeface="ACHS Nueva Sans Medium" pitchFamily="2" charset="77"/>
                  <a:cs typeface="Arial" panose="020B0604020202020204" pitchFamily="34" charset="0"/>
                </a:rPr>
                <a:t>Pisos vinilo</a:t>
              </a:r>
              <a:endParaRPr lang="es-ES" sz="16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3286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47217C0A-716A-4740-99FA-CA38ED033F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63" b="2450"/>
          <a:stretch/>
        </p:blipFill>
        <p:spPr bwMode="auto">
          <a:xfrm>
            <a:off x="4458388" y="1516162"/>
            <a:ext cx="7733612" cy="53926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Materiales de construcción que contienen asbesto (MCCA)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869670" cy="46109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r>
              <a:rPr lang="es-ES" b="1" dirty="0">
                <a:effectLst/>
                <a:latin typeface="ACHS Nueva Sans Medium" pitchFamily="2" charset="77"/>
              </a:rPr>
              <a:t>Otros ejemplos: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neles y azulejos de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techo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artón de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yeso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Fibrocemento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omún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drillo refractario para la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alderas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uerta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ontrafuego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ubos de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emento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nele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acústicos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sbesto en papeles (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fieltros</a:t>
            </a:r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)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islantes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térmicos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Maceteros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600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358893A9-75E6-FD45-B5C2-A37F1BE61C2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Antes de comenzar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490968F2-A283-6D47-A2E5-54B375EED09F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1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36" name="Marcador de texto 4">
            <a:extLst>
              <a:ext uri="{FF2B5EF4-FFF2-40B4-BE49-F238E27FC236}">
                <a16:creationId xmlns="" xmlns:a16="http://schemas.microsoft.com/office/drawing/2014/main" id="{DCC37573-A4B8-EE4F-99C9-ACDA92ADA832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2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540BA0E3-A56D-094A-92AB-1A2E4112CEB2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3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38" name="Marcador de texto 4">
            <a:extLst>
              <a:ext uri="{FF2B5EF4-FFF2-40B4-BE49-F238E27FC236}">
                <a16:creationId xmlns="" xmlns:a16="http://schemas.microsoft.com/office/drawing/2014/main" id="{CAE6EE89-DC04-5048-A8ED-38A382D96300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4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39" name="Marcador de texto 5">
            <a:extLst>
              <a:ext uri="{FF2B5EF4-FFF2-40B4-BE49-F238E27FC236}">
                <a16:creationId xmlns="" xmlns:a16="http://schemas.microsoft.com/office/drawing/2014/main" id="{B1F272C0-D036-EA4F-B9EF-3E88B719B618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Bienvenida</a:t>
            </a:r>
          </a:p>
        </p:txBody>
      </p:sp>
      <p:sp>
        <p:nvSpPr>
          <p:cNvPr id="40" name="Marcador de texto 5">
            <a:extLst>
              <a:ext uri="{FF2B5EF4-FFF2-40B4-BE49-F238E27FC236}">
                <a16:creationId xmlns="" xmlns:a16="http://schemas.microsoft.com/office/drawing/2014/main" id="{FA4CD855-11E2-4243-BD93-D3E2464041D7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Objetivos</a:t>
            </a:r>
          </a:p>
        </p:txBody>
      </p:sp>
      <p:sp>
        <p:nvSpPr>
          <p:cNvPr id="41" name="Marcador de texto 5">
            <a:extLst>
              <a:ext uri="{FF2B5EF4-FFF2-40B4-BE49-F238E27FC236}">
                <a16:creationId xmlns="" xmlns:a16="http://schemas.microsoft.com/office/drawing/2014/main" id="{21843717-633A-5B47-B2AF-A05E542794A6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guntas</a:t>
            </a:r>
          </a:p>
        </p:txBody>
      </p:sp>
      <p:sp>
        <p:nvSpPr>
          <p:cNvPr id="42" name="Marcador de texto 5">
            <a:extLst>
              <a:ext uri="{FF2B5EF4-FFF2-40B4-BE49-F238E27FC236}">
                <a16:creationId xmlns="" xmlns:a16="http://schemas.microsoft.com/office/drawing/2014/main" id="{D848D3DF-3769-1C4F-8A30-2E192EE89EAD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sentación del curso</a:t>
            </a:r>
          </a:p>
          <a:p>
            <a:pPr algn="ctr"/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pic>
        <p:nvPicPr>
          <p:cNvPr id="43" name="Imagen 42">
            <a:extLst>
              <a:ext uri="{FF2B5EF4-FFF2-40B4-BE49-F238E27FC236}">
                <a16:creationId xmlns="" xmlns:a16="http://schemas.microsoft.com/office/drawing/2014/main" id="{A96EA3E0-F1A7-F64B-8C0D-BBB96B7B26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44" name="Imagen 43">
            <a:extLst>
              <a:ext uri="{FF2B5EF4-FFF2-40B4-BE49-F238E27FC236}">
                <a16:creationId xmlns="" xmlns:a16="http://schemas.microsoft.com/office/drawing/2014/main" id="{617606DD-8B97-0D40-A98A-BC8D9E0E3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0960" y="3076234"/>
            <a:ext cx="1102987" cy="1039959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="" xmlns:a16="http://schemas.microsoft.com/office/drawing/2014/main" id="{2AA75799-C7BC-E847-B4C7-69974E953E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87704" y="3165157"/>
            <a:ext cx="1157089" cy="1124948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="" xmlns:a16="http://schemas.microsoft.com/office/drawing/2014/main" id="{34B768EE-05D7-DB41-B6AC-06C22F91F3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3515201" y="3056763"/>
            <a:ext cx="1427380" cy="1341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Uso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2476818" cy="760361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s-CL" dirty="0">
                <a:latin typeface="ACHS Nueva Sans Medium" pitchFamily="2" charset="77"/>
              </a:rPr>
              <a:t>Materiales de construcción que contienen asbesto (MCCA)  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="" xmlns:a16="http://schemas.microsoft.com/office/drawing/2014/main" id="{A8023D53-B492-0843-A53D-9065859C5D61}"/>
              </a:ext>
            </a:extLst>
          </p:cNvPr>
          <p:cNvGrpSpPr/>
          <p:nvPr/>
        </p:nvGrpSpPr>
        <p:grpSpPr>
          <a:xfrm>
            <a:off x="3520440" y="503749"/>
            <a:ext cx="6022503" cy="6113903"/>
            <a:chOff x="2131149" y="1621613"/>
            <a:chExt cx="5141034" cy="5219056"/>
          </a:xfrm>
        </p:grpSpPr>
        <p:pic>
          <p:nvPicPr>
            <p:cNvPr id="11" name="Picture 11">
              <a:extLst>
                <a:ext uri="{FF2B5EF4-FFF2-40B4-BE49-F238E27FC236}">
                  <a16:creationId xmlns="" xmlns:a16="http://schemas.microsoft.com/office/drawing/2014/main" id="{BFAD770D-1E9B-1748-B1E1-FB9CBCE833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61946" y="1621613"/>
              <a:ext cx="2210237" cy="136425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4">
              <a:extLst>
                <a:ext uri="{FF2B5EF4-FFF2-40B4-BE49-F238E27FC236}">
                  <a16:creationId xmlns="" xmlns:a16="http://schemas.microsoft.com/office/drawing/2014/main" id="{FCCE0423-8CD6-E348-AF11-C0A0D9896888}"/>
                </a:ext>
              </a:extLst>
            </p:cNvPr>
            <p:cNvSpPr/>
            <p:nvPr/>
          </p:nvSpPr>
          <p:spPr>
            <a:xfrm>
              <a:off x="5061946" y="3094324"/>
              <a:ext cx="2210237" cy="334676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>
              <a:noAutofit/>
            </a:bodyPr>
            <a:lstStyle/>
            <a:p>
              <a:pPr algn="ctr"/>
              <a:r>
                <a:rPr lang="es-ES" sz="1600" dirty="0">
                  <a:solidFill>
                    <a:schemeClr val="bg1"/>
                  </a:solidFill>
                  <a:latin typeface="ACHS Nueva Sans Medium" pitchFamily="2" charset="77"/>
                  <a:cs typeface="Arial" panose="020B0604020202020204" pitchFamily="34" charset="0"/>
                </a:rPr>
                <a:t>Maceteros</a:t>
              </a:r>
            </a:p>
          </p:txBody>
        </p:sp>
        <p:pic>
          <p:nvPicPr>
            <p:cNvPr id="14" name="Picture 3">
              <a:extLst>
                <a:ext uri="{FF2B5EF4-FFF2-40B4-BE49-F238E27FC236}">
                  <a16:creationId xmlns="" xmlns:a16="http://schemas.microsoft.com/office/drawing/2014/main" id="{F4CAFA34-B447-8441-A5B8-FFA74C9AA4D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061946" y="3618195"/>
              <a:ext cx="2210237" cy="25032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ectangle 4">
              <a:extLst>
                <a:ext uri="{FF2B5EF4-FFF2-40B4-BE49-F238E27FC236}">
                  <a16:creationId xmlns="" xmlns:a16="http://schemas.microsoft.com/office/drawing/2014/main" id="{4897E1AE-EA4B-664B-AB39-1434B1A3F7E2}"/>
                </a:ext>
              </a:extLst>
            </p:cNvPr>
            <p:cNvSpPr/>
            <p:nvPr/>
          </p:nvSpPr>
          <p:spPr>
            <a:xfrm>
              <a:off x="5061946" y="6173075"/>
              <a:ext cx="2210237" cy="667593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180000">
              <a:noAutofit/>
            </a:bodyPr>
            <a:lstStyle/>
            <a:p>
              <a:pPr algn="ctr"/>
              <a:r>
                <a:rPr lang="es-ES" sz="1600" dirty="0">
                  <a:solidFill>
                    <a:schemeClr val="bg1"/>
                  </a:solidFill>
                  <a:latin typeface="ACHS Nueva Sans Medium" pitchFamily="2" charset="77"/>
                  <a:cs typeface="Arial" panose="020B0604020202020204" pitchFamily="34" charset="0"/>
                </a:rPr>
                <a:t>Pesebreras </a:t>
              </a:r>
            </a:p>
          </p:txBody>
        </p:sp>
        <p:pic>
          <p:nvPicPr>
            <p:cNvPr id="19" name="Picture 10">
              <a:extLst>
                <a:ext uri="{FF2B5EF4-FFF2-40B4-BE49-F238E27FC236}">
                  <a16:creationId xmlns="" xmlns:a16="http://schemas.microsoft.com/office/drawing/2014/main" id="{84339424-05F9-0649-9DB1-474770C078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131150" y="1621613"/>
              <a:ext cx="2774731" cy="448217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Rectangle 4">
              <a:extLst>
                <a:ext uri="{FF2B5EF4-FFF2-40B4-BE49-F238E27FC236}">
                  <a16:creationId xmlns="" xmlns:a16="http://schemas.microsoft.com/office/drawing/2014/main" id="{5081BBF0-5F3E-AB46-AE76-6430359D664C}"/>
                </a:ext>
              </a:extLst>
            </p:cNvPr>
            <p:cNvSpPr/>
            <p:nvPr/>
          </p:nvSpPr>
          <p:spPr>
            <a:xfrm>
              <a:off x="2131149" y="6173076"/>
              <a:ext cx="2774731" cy="667593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72000">
              <a:noAutofit/>
            </a:bodyPr>
            <a:lstStyle/>
            <a:p>
              <a:pPr algn="ctr"/>
              <a:r>
                <a:rPr lang="es-ES" sz="1600" dirty="0">
                  <a:solidFill>
                    <a:schemeClr val="bg1"/>
                  </a:solidFill>
                  <a:latin typeface="ACHS Nueva Sans Medium" pitchFamily="2" charset="77"/>
                  <a:cs typeface="Arial" panose="020B0604020202020204" pitchFamily="34" charset="0"/>
                </a:rPr>
                <a:t>Puertas y portones cortafuego 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188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A picture containing person, person&#10;&#10;Description automatically generated">
            <a:extLst>
              <a:ext uri="{FF2B5EF4-FFF2-40B4-BE49-F238E27FC236}">
                <a16:creationId xmlns="" xmlns:a16="http://schemas.microsoft.com/office/drawing/2014/main" id="{4D15A01F-1AB6-5849-B3A3-2D279D13EA4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4" t="15327" r="2293" b="25283"/>
          <a:stretch/>
        </p:blipFill>
        <p:spPr>
          <a:xfrm>
            <a:off x="4473575" y="1538288"/>
            <a:ext cx="7718425" cy="531971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en la salud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743642" cy="44654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n la década del 70, se descubre que el asbesto podría producir perjuicios a la salud humana y que pueden provocar </a:t>
            </a:r>
            <a:r>
              <a:rPr lang="es-ES" b="1" dirty="0">
                <a:effectLst/>
                <a:latin typeface="ACHS Nueva Sans Medium" pitchFamily="2" charset="77"/>
              </a:rPr>
              <a:t>asbestosis, mesoteliomas o cáncer de pulmón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i bien la Asbestosis depende de la concentración de asbesto en aire y del tiempo de exposición, las otras enfermedades (cáncer) no tienen Niveles de Riesgo Mínimo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7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A picture containing person, person&#10;&#10;Description automatically generated">
            <a:extLst>
              <a:ext uri="{FF2B5EF4-FFF2-40B4-BE49-F238E27FC236}">
                <a16:creationId xmlns="" xmlns:a16="http://schemas.microsoft.com/office/drawing/2014/main" id="{4D15A01F-1AB6-5849-B3A3-2D279D13EA4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4" t="15327" r="2293" b="25283"/>
          <a:stretch/>
        </p:blipFill>
        <p:spPr>
          <a:xfrm>
            <a:off x="4473575" y="1538288"/>
            <a:ext cx="7718425" cy="531971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en la salud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743642" cy="44654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Factores de relevancia para contraer cáncer de pulmón: tiempo de exposición, hace cuánto tiempo se expuso, si es fumador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Otros factores: el tipo de asbesto (amosita), tamaño de fibra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35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en la salu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036562"/>
            <a:ext cx="9865812" cy="356282"/>
          </a:xfrm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Asbestosis</a:t>
            </a:r>
          </a:p>
        </p:txBody>
      </p:sp>
      <p:pic>
        <p:nvPicPr>
          <p:cNvPr id="8" name="Picture 9" descr="E:\Pitutos\ACHS\Cuadernillos\14_Capacitacion_Asbesto\graf2.jpg">
            <a:extLst>
              <a:ext uri="{FF2B5EF4-FFF2-40B4-BE49-F238E27FC236}">
                <a16:creationId xmlns="" xmlns:a16="http://schemas.microsoft.com/office/drawing/2014/main" id="{35145957-DCB9-F046-BF50-7FB51577C2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88565" y="1638988"/>
            <a:ext cx="8528828" cy="472244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277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en la salu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SEGÚN LA OMS (Septiembre de 2006)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3803761" cy="507857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125 millones de personas de todo el mundo se encuentran expuestas al asbesto en su lugar de trabajo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90.000 personas/año mueren por cáncer de pulmón, mesotelioma y asbestosis debido a la exposición al asbesto por motivos profesionales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bido al largo período de latencia de esas enfermedades, el N° de casos con enfermedades relacionadas con el asbesto sigue aumentando, incluso en países que se prohibió su uso en la década de los 90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l año 2012 serían 150 mil. (información extraoficial)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70A7164-E8DB-4E42-901B-57DC2E5AD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851" y="2035652"/>
            <a:ext cx="5245361" cy="4822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831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en la salud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="" xmlns:a16="http://schemas.microsoft.com/office/drawing/2014/main" id="{DCAA0C60-5DC1-8442-ACEA-354A9BF08B55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Material prohibido : </a:t>
            </a:r>
          </a:p>
        </p:txBody>
      </p:sp>
      <p:sp>
        <p:nvSpPr>
          <p:cNvPr id="11" name="Marcador de texto 5">
            <a:extLst>
              <a:ext uri="{FF2B5EF4-FFF2-40B4-BE49-F238E27FC236}">
                <a16:creationId xmlns="" xmlns:a16="http://schemas.microsoft.com/office/drawing/2014/main" id="{FF42905F-4D10-AB4B-8930-ACF848496ABF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94677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En la mayoría de los países del mundo el uso del asbesto está prohibido, desde la década del 80-90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En Chile, desde el año 2001 se prohíbe el uso de asbesto en materiales de construcción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Sin embargo, en la actualidad en Chile, en instalaciones antiguas, aún tenemos materiales en uso que contienen asbesto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El manejo de tales materiales, en uso o cuando se desechan, se deben hacer en forma segura, evitando la liberación de fibras de asbesto. </a:t>
            </a:r>
          </a:p>
        </p:txBody>
      </p:sp>
      <p:pic>
        <p:nvPicPr>
          <p:cNvPr id="13" name="Picture 42">
            <a:extLst>
              <a:ext uri="{FF2B5EF4-FFF2-40B4-BE49-F238E27FC236}">
                <a16:creationId xmlns="" xmlns:a16="http://schemas.microsoft.com/office/drawing/2014/main" id="{150CF191-1934-3148-9875-3D9B5FD65F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9B611F71-122B-EC4B-9DA7-C82FD9A308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3015" y="3737487"/>
            <a:ext cx="1439197" cy="14391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5467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.S. N° 594: “Reglamento sobre condiciones sanitarias y ambientales básicas en los lugares de trabajo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1356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ículo 65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híbase el uso en los lugares de trabajo de las sustancias que se indican a continuación, con excepción de los casos calificados por la autoridad sanitaria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sbesto Azul – Crocidolita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ículo 66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: Los Límites Permisibles Ponderados y temporales para las concentraciones ambientales de las sustancias que se indican, serán los siguientes. 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1DE699A-83CB-DE43-B0C8-5D31945A19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1522" y="2146726"/>
            <a:ext cx="5091215" cy="4711273"/>
          </a:xfrm>
          <a:prstGeom prst="rect">
            <a:avLst/>
          </a:prstGeom>
        </p:spPr>
      </p:pic>
      <p:sp>
        <p:nvSpPr>
          <p:cNvPr id="11" name="Rectangle 2">
            <a:extLst>
              <a:ext uri="{FF2B5EF4-FFF2-40B4-BE49-F238E27FC236}">
                <a16:creationId xmlns="" xmlns:a16="http://schemas.microsoft.com/office/drawing/2014/main" id="{80EDC1B1-45C3-0F4A-B8EC-20DB0355D256}"/>
              </a:ext>
            </a:extLst>
          </p:cNvPr>
          <p:cNvSpPr/>
          <p:nvPr/>
        </p:nvSpPr>
        <p:spPr>
          <a:xfrm>
            <a:off x="449262" y="5151051"/>
            <a:ext cx="5091215" cy="7832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144000" tIns="144000" rIns="144000" bIns="144000">
            <a:spAutoFit/>
          </a:bodyPr>
          <a:lstStyle/>
          <a:p>
            <a:pPr algn="ctr"/>
            <a:r>
              <a:rPr lang="es-ES" sz="1600" b="1" dirty="0">
                <a:solidFill>
                  <a:schemeClr val="accent1"/>
                </a:solidFill>
                <a:latin typeface="ACHS Nueva Sans Medium" pitchFamily="2" charset="77"/>
                <a:cs typeface="Calibri" panose="020F0502020204030204" pitchFamily="34" charset="0"/>
              </a:rPr>
              <a:t>ASBESTO    –     TODAS LAS FORMAS:</a:t>
            </a:r>
          </a:p>
          <a:p>
            <a:pPr algn="ctr"/>
            <a:r>
              <a:rPr lang="es-ES" sz="1600" b="1" dirty="0">
                <a:solidFill>
                  <a:schemeClr val="accent1"/>
                </a:solidFill>
                <a:latin typeface="ACHS Nueva Sans Medium" pitchFamily="2" charset="77"/>
                <a:cs typeface="Calibri" panose="020F0502020204030204" pitchFamily="34" charset="0"/>
              </a:rPr>
              <a:t>    LPP*         0,1 Fibras/cc            A1 (2) </a:t>
            </a:r>
          </a:p>
        </p:txBody>
      </p:sp>
      <p:sp>
        <p:nvSpPr>
          <p:cNvPr id="12" name="CuadroTexto 3">
            <a:extLst>
              <a:ext uri="{FF2B5EF4-FFF2-40B4-BE49-F238E27FC236}">
                <a16:creationId xmlns="" xmlns:a16="http://schemas.microsoft.com/office/drawing/2014/main" id="{D05BE812-371A-8E49-9257-48E36726E2A3}"/>
              </a:ext>
            </a:extLst>
          </p:cNvPr>
          <p:cNvSpPr txBox="1"/>
          <p:nvPr/>
        </p:nvSpPr>
        <p:spPr>
          <a:xfrm>
            <a:off x="449263" y="6073740"/>
            <a:ext cx="3155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>
                <a:latin typeface="ACHS Nueva Sans Medium" pitchFamily="2" charset="77"/>
                <a:cs typeface="Arial" panose="020B0604020202020204" pitchFamily="34" charset="0"/>
              </a:rPr>
              <a:t>*LPP: Limite permisible ponderad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5858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.S. N° 148: “Reglamento sanitario sobre residuos peligrosos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1356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siduos de asbesto considerados como peligrosos, según el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. N° 18: 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ista II: Categoría de Residuos que tengan como constituyentes: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II.18 Polvo y/o fibras de asbesto, con exclusión de los residuos de materiales de construcción fabricados con cemento asbesto.</a:t>
            </a:r>
          </a:p>
        </p:txBody>
      </p:sp>
      <p:pic>
        <p:nvPicPr>
          <p:cNvPr id="9" name="Picture 42">
            <a:extLst>
              <a:ext uri="{FF2B5EF4-FFF2-40B4-BE49-F238E27FC236}">
                <a16:creationId xmlns="" xmlns:a16="http://schemas.microsoft.com/office/drawing/2014/main" id="{D3F4D7EB-04CC-564C-8C4C-F80B121B9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366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.S. N° 656: “Prohíbe uso del asbesto en productos que indica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8749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siduos de asbesto considerados como peligrosos, según el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. N° 1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híbase en el país la producción, importación, distribución, venta y uso de crocidolita (asbesto azul) y de cualquier material o producto que lo contenga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. N° 2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híbase, asimismo, la producción, importación, distribución y venta de materiales de construcción, que contengan cualquier tipo de asbesto.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1DE699A-83CB-DE43-B0C8-5D31945A19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1522" y="2146726"/>
            <a:ext cx="5091215" cy="47112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846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.S. N° 656: “Prohíbe uso del asbesto en productos que indica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8749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siduos de asbesto considerados como peligrosos, según el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. N° 3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híbase la producción, importación, distribución, venta y uso de crisotilo, actinolita, amosita, antofilita, tremolita y </a:t>
            </a:r>
            <a:r>
              <a:rPr lang="es-ES" b="1" dirty="0">
                <a:effectLst/>
                <a:latin typeface="ACHS Nueva Sans Medium" pitchFamily="2" charset="77"/>
              </a:rPr>
              <a:t>cualquier otro tipo de asbesto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o mezcla de ellos, para cualquier cosa, elemento o producto que </a:t>
            </a:r>
            <a:r>
              <a:rPr lang="es-ES" b="1" dirty="0">
                <a:effectLst/>
                <a:latin typeface="ACHS Nueva Sans Medium" pitchFamily="2" charset="77"/>
              </a:rPr>
              <a:t>no constituya material de construcción, con las excepciones que se indican en el artículo 5º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7" name="Picture 42">
            <a:extLst>
              <a:ext uri="{FF2B5EF4-FFF2-40B4-BE49-F238E27FC236}">
                <a16:creationId xmlns="" xmlns:a16="http://schemas.microsoft.com/office/drawing/2014/main" id="{A0595D37-AA45-5346-AD41-6972308D11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527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="" xmlns:a16="http://schemas.microsoft.com/office/drawing/2014/main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841172"/>
            <a:ext cx="4792208" cy="1130194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ans Medium" pitchFamily="2" charset="77"/>
              </a:rPr>
              <a:t>Informar sobre los peligros presentes en el asbesto, el efecto en la salud de las personas, normativa legal vigente y cómo manejarlo de forma segura.</a:t>
            </a:r>
          </a:p>
          <a:p>
            <a:endParaRPr lang="es-ES" dirty="0">
              <a:latin typeface="ACHS Nueva Sans Medium" pitchFamily="2" charset="77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tx2"/>
                </a:solidFill>
                <a:latin typeface="ACHS Nueva Serif" pitchFamily="2" charset="77"/>
              </a:rPr>
              <a:t>OBJETIVO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AF65B942-F80F-5B43-A733-7A72D80B25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522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.S. N° 656: “Prohíbe uso del asbesto en productos que indica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683752"/>
            <a:ext cx="3803761" cy="471127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. N° 4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entenderá por: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dirty="0">
                <a:effectLst/>
                <a:latin typeface="ACHS Nueva Sans Medium" pitchFamily="2" charset="77"/>
              </a:rPr>
              <a:t>Asbesto friable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ineral de asbesto que se encuentra libre, en mangas o paquetes, en condiciones de desmenuzarse. </a:t>
            </a:r>
          </a:p>
          <a:p>
            <a:pPr marL="537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Ø"/>
            </a:pPr>
            <a:r>
              <a:rPr lang="es-ES" b="1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Friable: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 propiedad del asbesto de separarse formando fibras, cada vez más finas. </a:t>
            </a:r>
          </a:p>
          <a:p>
            <a:pPr marL="537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Ø"/>
            </a:pPr>
            <a:r>
              <a:rPr lang="es-ES" b="1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Friable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ineral de asbesto que se encuentra encapsulado con algún material que no permite su desmenuzamient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dirty="0">
                <a:effectLst/>
                <a:latin typeface="ACHS Nueva Sans Medium" pitchFamily="2" charset="77"/>
              </a:rPr>
              <a:t>Fibras de asbesto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rtículas de asbesto en suspensión, y las depositadas que pueden desplazarse por el aire.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FEEB93E0-54F0-5340-8757-04EB79DF7C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1522" y="2146726"/>
            <a:ext cx="5091215" cy="47112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088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.S. N° 656: “Prohíbe uso del asbesto en productos que indica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1356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Art. N° 5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 autoridad sanitaria podrá autorizar el uso de asbesto en la fabricación de productos o elementos que no sean materiales de construcción, siempre que los interesados acrediten que no existe factibilidad técnica ni económica que permita reemplazarlo por otro material. </a:t>
            </a:r>
          </a:p>
        </p:txBody>
      </p:sp>
      <p:pic>
        <p:nvPicPr>
          <p:cNvPr id="9" name="Picture 42">
            <a:extLst>
              <a:ext uri="{FF2B5EF4-FFF2-40B4-BE49-F238E27FC236}">
                <a16:creationId xmlns="" xmlns:a16="http://schemas.microsoft.com/office/drawing/2014/main" id="{D3F4D7EB-04CC-564C-8C4C-F80B121B9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398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3" y="1159879"/>
            <a:ext cx="5435344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ecreto N° 17: “Modifica Decreto N° 656, que prohíbe uso de asbesto en productos que se indican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916261" cy="441432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b="1" dirty="0">
                <a:effectLst/>
                <a:latin typeface="ACHS Nueva Sans Medium" pitchFamily="2" charset="77"/>
              </a:rPr>
              <a:t>Art. N° 9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s actividades relacionadas con edificaciones, equipos, instalaciones o maquinarias que tuvieren aislante de </a:t>
            </a:r>
            <a:r>
              <a:rPr lang="es-ES" b="1" dirty="0">
                <a:effectLst/>
                <a:latin typeface="ACHS Nueva Sans Medium" pitchFamily="2" charset="77"/>
              </a:rPr>
              <a:t>fibras de asbesto FRIABLE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tales como demolición, desmantelamiento </a:t>
            </a:r>
            <a:r>
              <a:rPr lang="es-ES" b="1" dirty="0">
                <a:effectLst/>
                <a:latin typeface="ACHS Nueva Sans Medium" pitchFamily="2" charset="77"/>
              </a:rPr>
              <a:t>o modificación de éstos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requerirán de </a:t>
            </a:r>
            <a:r>
              <a:rPr lang="es-ES" b="1" dirty="0">
                <a:effectLst/>
                <a:latin typeface="ACHS Nueva Sans Medium" pitchFamily="2" charset="77"/>
              </a:rPr>
              <a:t>AUTORIZACIÓN PREVIA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 la autoridad sanitaria competente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ra su obtención el dueño de las edificaciones, maquinarias, equipos o instalaciones deberá presentar un </a:t>
            </a:r>
            <a:r>
              <a:rPr lang="es-ES" b="1" dirty="0">
                <a:effectLst/>
                <a:latin typeface="ACHS Nueva Sans Medium" pitchFamily="2" charset="77"/>
              </a:rPr>
              <a:t>Plan de Trabajo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 en el que se </a:t>
            </a:r>
            <a:r>
              <a:rPr lang="es-ES" b="1" dirty="0">
                <a:effectLst/>
                <a:latin typeface="ACHS Nueva Sans Medium" pitchFamily="2" charset="77"/>
              </a:rPr>
              <a:t>prevean las medidas que se adoptarán para proteger la salud de los trabajadores y de la población aledaña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82F2E26-DE13-4F43-8765-FE409579CB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6189" y="2399394"/>
            <a:ext cx="3803761" cy="51089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8123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3" y="1159879"/>
            <a:ext cx="5435344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Decreto N° 17: “Modifica Decreto N° 656, que prohíbe uso de asbesto en productos que se indican”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4181732" cy="41056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b="1" dirty="0">
                <a:effectLst/>
                <a:latin typeface="ACHS Nueva Sans Medium" pitchFamily="2" charset="77"/>
              </a:rPr>
              <a:t>Art. N° 9, continuación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berá siempre </a:t>
            </a:r>
            <a:r>
              <a:rPr lang="es-ES" b="1" dirty="0">
                <a:effectLst/>
                <a:latin typeface="ACHS Nueva Sans Medium" pitchFamily="2" charset="77"/>
              </a:rPr>
              <a:t>solicitarse la autorización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ñalada, si durante el desarrollo de alguna de las actividades referidas se </a:t>
            </a:r>
            <a:r>
              <a:rPr lang="es-ES" b="1" dirty="0">
                <a:effectLst/>
                <a:latin typeface="ACHS Nueva Sans Medium" pitchFamily="2" charset="77"/>
              </a:rPr>
              <a:t>encuentra asbesto friable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l que no se hubiere tenido conocimiento al inicio de las obras, </a:t>
            </a:r>
            <a:r>
              <a:rPr lang="es-ES" b="1" dirty="0">
                <a:effectLst/>
                <a:latin typeface="ACHS Nueva Sans Medium" pitchFamily="2" charset="77"/>
              </a:rPr>
              <a:t>paralizando las mismas hasta la obtención de dicho permis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n el evento que el asbesto presente en las actividades sea </a:t>
            </a:r>
            <a:r>
              <a:rPr lang="es-ES" b="1" dirty="0">
                <a:effectLst/>
                <a:latin typeface="ACHS Nueva Sans Medium" pitchFamily="2" charset="77"/>
              </a:rPr>
              <a:t>NO FRIABLE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se deberá </a:t>
            </a:r>
            <a:r>
              <a:rPr lang="es-ES" b="1" dirty="0">
                <a:effectLst/>
                <a:latin typeface="ACHS Nueva Sans Medium" pitchFamily="2" charset="77"/>
              </a:rPr>
              <a:t>notificar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 a la autoridad sanitaria competente la realización de la actividad, en forma previa a su inicio o tan pronto se encuentre el producto y acompañar el plan de trabajo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82F2E26-DE13-4F43-8765-FE409579CB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6189" y="2399394"/>
            <a:ext cx="3803761" cy="5108973"/>
          </a:xfrm>
          <a:prstGeom prst="rect">
            <a:avLst/>
          </a:prstGeom>
        </p:spPr>
      </p:pic>
      <p:sp>
        <p:nvSpPr>
          <p:cNvPr id="7" name="Marcador de texto 5">
            <a:extLst>
              <a:ext uri="{FF2B5EF4-FFF2-40B4-BE49-F238E27FC236}">
                <a16:creationId xmlns="" xmlns:a16="http://schemas.microsoft.com/office/drawing/2014/main" id="{938A566B-5D7C-5B46-8DFB-F52B8374BAFF}"/>
              </a:ext>
            </a:extLst>
          </p:cNvPr>
          <p:cNvSpPr txBox="1">
            <a:spLocks/>
          </p:cNvSpPr>
          <p:nvPr/>
        </p:nvSpPr>
        <p:spPr>
          <a:xfrm>
            <a:off x="449262" y="5928852"/>
            <a:ext cx="6130745" cy="70145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1200" b="1" dirty="0">
                <a:effectLst/>
                <a:latin typeface="ACHS Nueva Sans Medium" pitchFamily="2" charset="77"/>
              </a:rPr>
              <a:t>*NOTA: </a:t>
            </a:r>
            <a:r>
              <a:rPr lang="es-ES" sz="12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n este caso, la Autoridad Sanitaria de la R.M. se da un plazo de 10 días para pronunciarse respecto del Plan de Trabajo. 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sz="12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600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3" y="1159879"/>
            <a:ext cx="5435344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Mediciones de fibras de asbesto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4173538" cy="276151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b="1" dirty="0">
                <a:effectLst/>
                <a:latin typeface="ACHS Nueva Sans Medium" pitchFamily="2" charset="77"/>
              </a:rPr>
              <a:t>Resolución exenta nº 29/2013 del ISP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“Protocolo determinación de fibras de asbesto en aire en ambientes laborales mediante PCM”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ES" b="1" dirty="0">
                <a:effectLst/>
                <a:latin typeface="ACHS Nueva Sans Medium" pitchFamily="2" charset="77"/>
              </a:rPr>
              <a:t>Resolución exenta nº 18/2013 del ISP: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“Protocolo determinación de fibras de asbesto en aire comunitario y re-ingreso a área intervenidas mediante PCM”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1400" dirty="0">
                <a:solidFill>
                  <a:schemeClr val="bg2"/>
                </a:solidFill>
                <a:effectLst/>
                <a:latin typeface="ACHS Nueva Sans Medium" pitchFamily="2" charset="77"/>
              </a:rPr>
              <a:t>PCM: Microscopia contrate de fase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82F2E26-DE13-4F43-8765-FE409579CB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6189" y="2399394"/>
            <a:ext cx="3803761" cy="51089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686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Resolución exenta N° 29/2013: LABORAL.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4314467" cy="31356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ímite máximo permitido: 0,1 fibras/cc (D.S. 594/99)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ipo de medición: Personal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audal Bombas: 1,5 l/min – 2,5 l/min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iempo medición: 70% Jornada Laboral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etodología: Microscopía Contraste Fase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2F90B854-A9F3-C448-93EF-24298581A7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851" y="2035652"/>
            <a:ext cx="5245361" cy="4822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091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4786415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Resolución exenta N° 18/2013 del ISP: Ambiental – test reingreso.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4314467" cy="31356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ímite máximo permitido: 0,01 fibras/cc (10.000 fibras/m3)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ipo de medición: Ambiental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audal Bombas: 7 l/min – 10 l/min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iempo medición: No definid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etodología: </a:t>
            </a:r>
            <a:r>
              <a:rPr lang="es-ES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CM.</a:t>
            </a: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2F90B854-A9F3-C448-93EF-24298581A7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851" y="2035652"/>
            <a:ext cx="5245361" cy="4822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415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="" xmlns:a16="http://schemas.microsoft.com/office/drawing/2014/main" id="{90A9BB21-F875-4E4B-8521-6369573892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2658"/>
          <a:stretch/>
        </p:blipFill>
        <p:spPr bwMode="auto">
          <a:xfrm>
            <a:off x="4473575" y="1538288"/>
            <a:ext cx="7718425" cy="531971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Test reingreso previamente al muestreo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942866" cy="269370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oplado con aire a todas las superficies de la zona que fue Intervenida con el retiro del material con asbesto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nstalación de ventiladores, cada 500 m3, para mantener suspendidas las fibras de asbesto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699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="" xmlns:a16="http://schemas.microsoft.com/office/drawing/2014/main" id="{9AED0B98-8048-6241-8CB7-3C7D39F9B2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05" b="51341"/>
          <a:stretch/>
        </p:blipFill>
        <p:spPr bwMode="auto">
          <a:xfrm>
            <a:off x="4473575" y="1538288"/>
            <a:ext cx="7718425" cy="53197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Normativa aplicable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020445"/>
            <a:ext cx="3619818" cy="559720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Manejo seguro del asbesto: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lanificación del trabajo → exigencia SEREMI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apacitación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mplementación.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b="1" dirty="0">
              <a:effectLst/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</a:pPr>
            <a:r>
              <a:rPr lang="es-ES" b="1" dirty="0">
                <a:effectLst/>
                <a:latin typeface="ACHS Nueva Sans Medium" pitchFamily="2" charset="77"/>
              </a:rPr>
              <a:t>Equipo de Protección Personal (EPP):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tección respiratoria con máscara medio rostro con filtro P100 o tipo P3, u otra de mayor eficiencia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ntiparras.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Buzo tipo tyvek, con capucha y cubre calzado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uantes de nitrilo o de cuero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Zapatos de seguridad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asco de seguridad con barbiquejo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rnés de seguridad (si corresponde)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123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Tips para el manejo seguro del asbesto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57472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plicar pintura vinílica a las superficies, manualmente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Humedecer solución jabonosa o con solución de látex vinílico al 20%, utilizando un aspersor a baja presión (bomba manual), para evitar desprendimiento de fibras de asbest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utilizar máquinas o herramientas de alta velocidad en la intervención de materiales con asbesto cement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aserrar, no lijar, no pulir, no cortar, no golpear, no taladrar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30C716B9-B3AB-6047-AEB4-7BC8B98329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8349" y="2932900"/>
            <a:ext cx="4073165" cy="47336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8993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="" xmlns:a16="http://schemas.microsoft.com/office/drawing/2014/main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475821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ans Medium" pitchFamily="2" charset="77"/>
              </a:rPr>
              <a:t>Ser trabajador de empresas que se encuentran afiliadas a la ACHS.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tx2"/>
                </a:solidFill>
                <a:latin typeface="ACHS Nueva Serif" pitchFamily="2" charset="77"/>
              </a:rPr>
              <a:t>PÚBLICO OBJETIVO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868DB988-E92E-A84E-B170-A41C800DDE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0029" y="2093886"/>
            <a:ext cx="4792208" cy="47922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57450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Señalizacione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5"/>
            <a:ext cx="3803761" cy="38749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Residuos: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 Una vez retirados los materiales de asbesto-cemento, deben ser envueltos en plástico de a lo menos 80 </a:t>
            </a:r>
            <a:r>
              <a:rPr lang="el-GR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μ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 de espesor, u otro tipo de envoltorio o encapsulado, pero de igual o mejor calidad, y ser etiquetados: </a:t>
            </a:r>
            <a:r>
              <a:rPr lang="es-ES" b="1" dirty="0">
                <a:effectLst/>
                <a:latin typeface="ACHS Nueva Sans Medium" pitchFamily="2" charset="77"/>
              </a:rPr>
              <a:t>“MATERIAL CON ASBESTO </a:t>
            </a:r>
            <a:r>
              <a:rPr lang="es-ES" b="1">
                <a:effectLst/>
                <a:latin typeface="ACHS Nueva Sans Medium" pitchFamily="2" charset="77"/>
              </a:rPr>
              <a:t>CEMENTO</a:t>
            </a:r>
            <a:r>
              <a:rPr lang="es-ES" b="1" smtClean="0">
                <a:effectLst/>
                <a:latin typeface="ACHS Nueva Sans Medium" pitchFamily="2" charset="77"/>
              </a:rPr>
              <a:t>”.</a:t>
            </a:r>
            <a:endParaRPr lang="es-ES" b="1" dirty="0">
              <a:effectLst/>
              <a:latin typeface="ACHS Nueva Sans Medium" pitchFamily="2" charset="77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5297621" y="2051785"/>
            <a:ext cx="6254616" cy="3095885"/>
            <a:chOff x="5058697" y="1823185"/>
            <a:chExt cx="6254616" cy="3095885"/>
          </a:xfrm>
        </p:grpSpPr>
        <p:pic>
          <p:nvPicPr>
            <p:cNvPr id="9" name="Picture 2">
              <a:extLst>
                <a:ext uri="{FF2B5EF4-FFF2-40B4-BE49-F238E27FC236}">
                  <a16:creationId xmlns="" xmlns:a16="http://schemas.microsoft.com/office/drawing/2014/main" id="{933EFB40-945F-E949-8DB3-683BF0E5AF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9791"/>
            <a:stretch/>
          </p:blipFill>
          <p:spPr bwMode="auto">
            <a:xfrm>
              <a:off x="5058697" y="1823185"/>
              <a:ext cx="5047328" cy="2927877"/>
            </a:xfrm>
            <a:prstGeom prst="rect">
              <a:avLst/>
            </a:prstGeom>
          </p:spPr>
        </p:pic>
        <p:pic>
          <p:nvPicPr>
            <p:cNvPr id="7" name="Picture 2">
              <a:extLst>
                <a:ext uri="{FF2B5EF4-FFF2-40B4-BE49-F238E27FC236}">
                  <a16:creationId xmlns="" xmlns:a16="http://schemas.microsoft.com/office/drawing/2014/main" id="{933EFB40-945F-E949-8DB3-683BF0E5AF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906"/>
            <a:stretch/>
          </p:blipFill>
          <p:spPr bwMode="auto">
            <a:xfrm>
              <a:off x="10048875" y="1991193"/>
              <a:ext cx="1264438" cy="292787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1712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Manejo seguro del asbesto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412041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uego de ser retirados los materiales de asbesto-cemento, las estructuras donde se encontraban afianzadas deben ser cuidadosamente limpiadas con paños húmedos o aspiradas con aspiradoras con filtros HEPA de manera de que no queden fibras de asbest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os paños como los filtros deben ser eliminados como residuos en bolsas etiquetadas, de igual forma que el resto de los residuos de materiales con asbesto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F152D23E-619D-D443-A0B1-F040F6B3F5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9794" y="2285131"/>
            <a:ext cx="4967082" cy="45728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Manejo seguro del asbesto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412041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Respecto de la zona utilizada para almacenamiento temporal de las planchas de asbesto cemento deberán ser señalizadas para evitar que personas ajenas transiten por el lugar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Todos los elementos de protección personal “desechables” deben ser eliminados junto con el resto de residuos generado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F152D23E-619D-D443-A0B1-F040F6B3F5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9794" y="2285131"/>
            <a:ext cx="4967082" cy="45728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154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Procedimiento seguro – Cambio de ropa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5"/>
            <a:ext cx="3803761" cy="38749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roporcionar instalaciones de guardarropías y lockers; definiéndose un flujo de tránsito para el cambio de ropa de trabajo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b="1" dirty="0">
                <a:effectLst/>
                <a:latin typeface="ACHS Nueva Sans Medium" pitchFamily="2" charset="77"/>
              </a:rPr>
              <a:t>Zona limpia – Duchas – Zona sucia y viceversa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 la entrada de la zona sucia se recomienda contar con una aspiradora con filtro HEPA para el aspirado de la ropa o humectar manualmente la vestimenta contaminada (aspersor manual)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b="1" dirty="0">
              <a:effectLst/>
              <a:latin typeface="ACHS Nueva Sans Medium" pitchFamily="2" charset="77"/>
            </a:endParaRPr>
          </a:p>
        </p:txBody>
      </p:sp>
      <p:pic>
        <p:nvPicPr>
          <p:cNvPr id="7" name="Picture 3">
            <a:extLst>
              <a:ext uri="{FF2B5EF4-FFF2-40B4-BE49-F238E27FC236}">
                <a16:creationId xmlns="" xmlns:a16="http://schemas.microsoft.com/office/drawing/2014/main" id="{08C627A0-6C0E-0543-87E8-96CFABB5FF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"/>
          <a:stretch/>
        </p:blipFill>
        <p:spPr bwMode="auto">
          <a:xfrm>
            <a:off x="5045529" y="1683752"/>
            <a:ext cx="6759429" cy="414189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7990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Procedimiento seguro – Cambio de ropa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5"/>
            <a:ext cx="3803761" cy="453824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b="1" dirty="0">
                <a:effectLst/>
                <a:latin typeface="ACHS Nueva Sans Medium" pitchFamily="2" charset="77"/>
              </a:rPr>
              <a:t>Secuencia de retiro de EPP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s-ES" b="1" dirty="0">
                <a:solidFill>
                  <a:schemeClr val="bg2"/>
                </a:solidFill>
                <a:effectLst/>
                <a:latin typeface="ACHS Nueva Sans Medium" pitchFamily="2" charset="77"/>
              </a:rPr>
              <a:t>Zona Sucia.</a:t>
            </a:r>
            <a:r>
              <a:rPr lang="es-ES" dirty="0">
                <a:solidFill>
                  <a:schemeClr val="bg2"/>
                </a:solidFill>
                <a:effectLst/>
                <a:latin typeface="ACHS Nueva Sans Medium" pitchFamily="2" charset="77"/>
              </a:rPr>
              <a:t> </a:t>
            </a: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spirado de ropa desechable (siempre que haya filtro HEPA) o humectación con aspersor manual para evitar la volatizar las fibras de asbesto. 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tiro de casco y antiparras (limpiar con paños húmedos desechables).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tiro de cubre calzados (desechable) y zapatos de seguridad (limpiar). 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tiro de buzo desechable.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30C716B9-B3AB-6047-AEB4-7BC8B98329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8349" y="2932900"/>
            <a:ext cx="4073165" cy="47336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253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79"/>
            <a:ext cx="5907293" cy="5238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ans Medium" pitchFamily="2" charset="77"/>
              </a:rPr>
              <a:t>Procedimiento seguro – Cambio de ropa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823186"/>
            <a:ext cx="3803761" cy="328765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b="1" dirty="0">
                <a:effectLst/>
                <a:latin typeface="ACHS Nueva Sans Medium" pitchFamily="2" charset="77"/>
              </a:rPr>
              <a:t>Secuencia de retiro de EPP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 startAt="5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tiro de guantes desechables. 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 startAt="5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ngreso zona duchas (Zona Gris). 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 startAt="5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tiro de máscara (zona de duchas) (limpiar). 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 startAt="5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ucharse. </a:t>
            </a:r>
          </a:p>
          <a:p>
            <a:pPr marL="342900" indent="-34290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+mj-lt"/>
              <a:buAutoNum type="arabicPeriod" startAt="5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ngreso </a:t>
            </a:r>
            <a:r>
              <a:rPr lang="es-ES" b="1" dirty="0">
                <a:effectLst/>
                <a:latin typeface="ACHS Nueva Sans Medium" pitchFamily="2" charset="77"/>
              </a:rPr>
              <a:t>Zona Limpia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30C716B9-B3AB-6047-AEB4-7BC8B98329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8349" y="2932900"/>
            <a:ext cx="4073165" cy="47336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805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0771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344417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94345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C822AB86-67C0-964F-9073-E897F42856A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4" t="172" r="204" b="41480"/>
          <a:stretch/>
        </p:blipFill>
        <p:spPr>
          <a:xfrm>
            <a:off x="4473575" y="1538287"/>
            <a:ext cx="7718425" cy="5319713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¿Qué es el asbesto?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743642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asbesto está compuesto por fibras minerales naturales, fuertes y flexibles, formadas por silicatos complejos, de hierro, aluminio, sodio, magnesio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el nombre de un grupo de minerales metamórficos fibrosas. Están compuestos de silicatos de cadena dobl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231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CBAA4655-F3AF-2443-9866-58B9665251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2" t="844" r="8632" b="844"/>
          <a:stretch/>
        </p:blipFill>
        <p:spPr bwMode="auto">
          <a:xfrm>
            <a:off x="4473574" y="1538288"/>
            <a:ext cx="7718426" cy="53197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¿Dónde se encuentra?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¿Qué es el asbesto?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131169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n la corteza terrestre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inas de asbesto en EE.UU., Canadá, África del sur, Europa, Rusia</a:t>
            </a:r>
          </a:p>
        </p:txBody>
      </p:sp>
      <p:sp>
        <p:nvSpPr>
          <p:cNvPr id="9" name="Marcador de texto 5">
            <a:extLst>
              <a:ext uri="{FF2B5EF4-FFF2-40B4-BE49-F238E27FC236}">
                <a16:creationId xmlns="" xmlns:a16="http://schemas.microsoft.com/office/drawing/2014/main" id="{95BC6891-1C57-2842-9B2B-0A35F45313E5}"/>
              </a:ext>
            </a:extLst>
          </p:cNvPr>
          <p:cNvSpPr txBox="1">
            <a:spLocks/>
          </p:cNvSpPr>
          <p:nvPr/>
        </p:nvSpPr>
        <p:spPr>
          <a:xfrm>
            <a:off x="449262" y="5498115"/>
            <a:ext cx="2769457" cy="1119537"/>
          </a:xfrm>
          <a:prstGeom prst="rect">
            <a:avLst/>
          </a:prstGeom>
          <a:solidFill>
            <a:schemeClr val="accent1"/>
          </a:solidFill>
        </p:spPr>
        <p:txBody>
          <a:bodyPr lIns="144000" tIns="14400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dirty="0">
                <a:solidFill>
                  <a:schemeClr val="bg1"/>
                </a:solidFill>
                <a:effectLst/>
                <a:latin typeface="ACHS Nueva Sans Medium" pitchFamily="2" charset="77"/>
              </a:rPr>
              <a:t>Mina de </a:t>
            </a:r>
            <a:r>
              <a:rPr lang="es-ES" dirty="0">
                <a:solidFill>
                  <a:schemeClr val="bg1"/>
                </a:solidFill>
                <a:latin typeface="ACHS Nueva Sans Medium" pitchFamily="2" charset="77"/>
              </a:rPr>
              <a:t>C</a:t>
            </a:r>
            <a:r>
              <a:rPr lang="es-ES" dirty="0">
                <a:solidFill>
                  <a:schemeClr val="bg1"/>
                </a:solidFill>
                <a:effectLst/>
                <a:latin typeface="ACHS Nueva Sans Medium" pitchFamily="2" charset="77"/>
              </a:rPr>
              <a:t>risotilo en el Monte Belsidere en El Edén y Lowell (Vermont) EE.UU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6250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lasificación del asbesto</a:t>
            </a:r>
          </a:p>
        </p:txBody>
      </p:sp>
      <p:sp>
        <p:nvSpPr>
          <p:cNvPr id="10" name="Marcador de texto 5">
            <a:extLst>
              <a:ext uri="{FF2B5EF4-FFF2-40B4-BE49-F238E27FC236}">
                <a16:creationId xmlns="" xmlns:a16="http://schemas.microsoft.com/office/drawing/2014/main" id="{DCAA0C60-5DC1-8442-ACEA-354A9BF08B55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accent1"/>
                </a:solidFill>
                <a:latin typeface="ACHS Nueva Sans Medium" pitchFamily="2" charset="77"/>
              </a:rPr>
              <a:t>Serpentinas, </a:t>
            </a:r>
            <a:r>
              <a:rPr lang="es-CL" dirty="0">
                <a:latin typeface="ACHS Nueva Sans Medium" pitchFamily="2" charset="77"/>
              </a:rPr>
              <a:t>silicatos de cadena simple, con una sola especie: </a:t>
            </a:r>
          </a:p>
        </p:txBody>
      </p:sp>
      <p:sp>
        <p:nvSpPr>
          <p:cNvPr id="11" name="Marcador de texto 5">
            <a:extLst>
              <a:ext uri="{FF2B5EF4-FFF2-40B4-BE49-F238E27FC236}">
                <a16:creationId xmlns="" xmlns:a16="http://schemas.microsoft.com/office/drawing/2014/main" id="{FF42905F-4D10-AB4B-8930-ACF848496ABF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94677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risotilo o amianto blanco (usado en techumbres principalmente)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CL" sz="1600" b="1" dirty="0">
                <a:latin typeface="ACHS Nueva Sans Medium" pitchFamily="2" charset="77"/>
              </a:rPr>
              <a:t>Anfibolitas, 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silicatos de cadena doble, con las respectivas especies: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rocidolita o amianto azul,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Amosita o amianto marrón (usado en aislación térmica y calderas),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Antofilita,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Tremolita,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Actinolita</a:t>
            </a:r>
          </a:p>
        </p:txBody>
      </p:sp>
      <p:pic>
        <p:nvPicPr>
          <p:cNvPr id="13" name="Picture 42">
            <a:extLst>
              <a:ext uri="{FF2B5EF4-FFF2-40B4-BE49-F238E27FC236}">
                <a16:creationId xmlns="" xmlns:a16="http://schemas.microsoft.com/office/drawing/2014/main" id="{150CF191-1934-3148-9875-3D9B5FD65F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594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ipos de asbesto</a:t>
            </a:r>
          </a:p>
        </p:txBody>
      </p:sp>
      <p:sp>
        <p:nvSpPr>
          <p:cNvPr id="39" name="Freeform 5">
            <a:extLst>
              <a:ext uri="{FF2B5EF4-FFF2-40B4-BE49-F238E27FC236}">
                <a16:creationId xmlns="" xmlns:a16="http://schemas.microsoft.com/office/drawing/2014/main" id="{99F4552E-B065-AB46-AE3B-E8E6AC3BECD4}"/>
              </a:ext>
            </a:extLst>
          </p:cNvPr>
          <p:cNvSpPr/>
          <p:nvPr/>
        </p:nvSpPr>
        <p:spPr>
          <a:xfrm>
            <a:off x="4428057" y="1260303"/>
            <a:ext cx="2936967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rgbClr val="84B626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600" b="1" dirty="0">
                <a:latin typeface="ACHS Nueva Sans Medium" pitchFamily="2" charset="77"/>
              </a:rPr>
              <a:t>ASBESTO</a:t>
            </a:r>
          </a:p>
        </p:txBody>
      </p:sp>
      <p:sp>
        <p:nvSpPr>
          <p:cNvPr id="40" name="Freeform 17">
            <a:extLst>
              <a:ext uri="{FF2B5EF4-FFF2-40B4-BE49-F238E27FC236}">
                <a16:creationId xmlns="" xmlns:a16="http://schemas.microsoft.com/office/drawing/2014/main" id="{CDFAEA04-597B-7C4F-8158-6F3EC083EDCE}"/>
              </a:ext>
            </a:extLst>
          </p:cNvPr>
          <p:cNvSpPr/>
          <p:nvPr/>
        </p:nvSpPr>
        <p:spPr>
          <a:xfrm>
            <a:off x="2749472" y="2921483"/>
            <a:ext cx="2936967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</a:pPr>
            <a:r>
              <a:rPr lang="it-IT" sz="1600" b="1" dirty="0">
                <a:solidFill>
                  <a:schemeClr val="bg2"/>
                </a:solidFill>
                <a:latin typeface="ACHS Nueva Sans Medium" pitchFamily="2" charset="77"/>
              </a:rPr>
              <a:t>SERPENTINA </a:t>
            </a:r>
          </a:p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t-IT" sz="1600" b="1" dirty="0">
                <a:solidFill>
                  <a:schemeClr val="bg2"/>
                </a:solidFill>
                <a:latin typeface="ACHS Nueva Sans Medium" pitchFamily="2" charset="77"/>
              </a:rPr>
              <a:t>Crisotilo (asbesto blanco) </a:t>
            </a:r>
          </a:p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t-IT" sz="1600" dirty="0">
                <a:solidFill>
                  <a:schemeClr val="bg2"/>
                </a:solidFill>
                <a:latin typeface="ACHS Nueva Sans Medium" pitchFamily="2" charset="77"/>
              </a:rPr>
              <a:t>Mg</a:t>
            </a:r>
            <a:r>
              <a:rPr lang="it-IT" sz="1600" baseline="-25000" dirty="0">
                <a:solidFill>
                  <a:schemeClr val="bg2"/>
                </a:solidFill>
                <a:latin typeface="ACHS Nueva Sans Medium" pitchFamily="2" charset="77"/>
              </a:rPr>
              <a:t>3</a:t>
            </a:r>
            <a:r>
              <a:rPr lang="it-IT" sz="1600" dirty="0">
                <a:solidFill>
                  <a:schemeClr val="bg2"/>
                </a:solidFill>
                <a:latin typeface="ACHS Nueva Sans Medium" pitchFamily="2" charset="77"/>
              </a:rPr>
              <a:t>Si</a:t>
            </a:r>
            <a:r>
              <a:rPr lang="it-IT" sz="1600" baseline="-25000" dirty="0">
                <a:solidFill>
                  <a:schemeClr val="bg2"/>
                </a:solidFill>
                <a:latin typeface="ACHS Nueva Sans Medium" pitchFamily="2" charset="77"/>
              </a:rPr>
              <a:t>2</a:t>
            </a:r>
            <a:r>
              <a:rPr lang="it-IT" sz="1600" dirty="0">
                <a:solidFill>
                  <a:schemeClr val="bg2"/>
                </a:solidFill>
                <a:latin typeface="ACHS Nueva Sans Medium" pitchFamily="2" charset="77"/>
              </a:rPr>
              <a:t>O</a:t>
            </a:r>
            <a:r>
              <a:rPr lang="it-IT" sz="1600" baseline="-25000" dirty="0">
                <a:solidFill>
                  <a:schemeClr val="bg2"/>
                </a:solidFill>
                <a:latin typeface="ACHS Nueva Sans Medium" pitchFamily="2" charset="77"/>
              </a:rPr>
              <a:t>5</a:t>
            </a:r>
            <a:r>
              <a:rPr lang="it-IT" sz="1600" dirty="0">
                <a:solidFill>
                  <a:schemeClr val="bg2"/>
                </a:solidFill>
                <a:latin typeface="ACHS Nueva Sans Medium" pitchFamily="2" charset="77"/>
              </a:rPr>
              <a:t> (OH)</a:t>
            </a:r>
            <a:r>
              <a:rPr lang="it-IT" sz="1600" baseline="-25000" dirty="0">
                <a:solidFill>
                  <a:schemeClr val="bg2"/>
                </a:solidFill>
                <a:latin typeface="ACHS Nueva Sans Medium" pitchFamily="2" charset="77"/>
              </a:rPr>
              <a:t>4</a:t>
            </a:r>
            <a:r>
              <a:rPr lang="it-IT" sz="1600" dirty="0">
                <a:solidFill>
                  <a:schemeClr val="bg2"/>
                </a:solidFill>
                <a:latin typeface="ACHS Nueva Sans Medium" pitchFamily="2" charset="77"/>
              </a:rPr>
              <a:t> </a:t>
            </a:r>
          </a:p>
        </p:txBody>
      </p:sp>
      <p:sp>
        <p:nvSpPr>
          <p:cNvPr id="41" name="Freeform 18">
            <a:extLst>
              <a:ext uri="{FF2B5EF4-FFF2-40B4-BE49-F238E27FC236}">
                <a16:creationId xmlns="" xmlns:a16="http://schemas.microsoft.com/office/drawing/2014/main" id="{5C579B7E-D421-6F47-BABA-250F42427DC4}"/>
              </a:ext>
            </a:extLst>
          </p:cNvPr>
          <p:cNvSpPr/>
          <p:nvPr/>
        </p:nvSpPr>
        <p:spPr>
          <a:xfrm>
            <a:off x="6066772" y="2921483"/>
            <a:ext cx="2936967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600" b="1" dirty="0">
                <a:solidFill>
                  <a:schemeClr val="bg2"/>
                </a:solidFill>
                <a:latin typeface="ACHS Nueva Sans Medium" pitchFamily="2" charset="77"/>
              </a:rPr>
              <a:t>ANFIBOLITAS</a:t>
            </a:r>
          </a:p>
        </p:txBody>
      </p:sp>
      <p:sp>
        <p:nvSpPr>
          <p:cNvPr id="42" name="Freeform 21">
            <a:extLst>
              <a:ext uri="{FF2B5EF4-FFF2-40B4-BE49-F238E27FC236}">
                <a16:creationId xmlns="" xmlns:a16="http://schemas.microsoft.com/office/drawing/2014/main" id="{B7F93B40-EF93-F940-B937-6CC98DA29EF2}"/>
              </a:ext>
            </a:extLst>
          </p:cNvPr>
          <p:cNvSpPr/>
          <p:nvPr/>
        </p:nvSpPr>
        <p:spPr>
          <a:xfrm>
            <a:off x="1060092" y="4636284"/>
            <a:ext cx="2548498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Tremolita</a:t>
            </a:r>
          </a:p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Ca</a:t>
            </a:r>
            <a:r>
              <a:rPr lang="es-CL" sz="1600" baseline="-25000" dirty="0">
                <a:latin typeface="ACHS Nueva Sans Medium" pitchFamily="2" charset="77"/>
              </a:rPr>
              <a:t>2</a:t>
            </a: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Mg</a:t>
            </a:r>
            <a:r>
              <a:rPr lang="es-CL" sz="1600" baseline="-25000" dirty="0">
                <a:latin typeface="ACHS Nueva Sans Medium" pitchFamily="2" charset="77"/>
              </a:rPr>
              <a:t>5</a:t>
            </a: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Si</a:t>
            </a:r>
            <a:r>
              <a:rPr lang="es-CL" sz="1600" baseline="-25000" dirty="0">
                <a:latin typeface="ACHS Nueva Sans Medium" pitchFamily="2" charset="77"/>
              </a:rPr>
              <a:t>8</a:t>
            </a: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O</a:t>
            </a:r>
            <a:r>
              <a:rPr lang="es-CL" sz="1600" baseline="-25000" dirty="0">
                <a:latin typeface="ACHS Nueva Sans Medium" pitchFamily="2" charset="77"/>
              </a:rPr>
              <a:t>22</a:t>
            </a: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 (OH)</a:t>
            </a:r>
            <a:r>
              <a:rPr lang="es-CL" sz="1600" baseline="-25000" dirty="0">
                <a:latin typeface="ACHS Nueva Sans Medium" pitchFamily="2" charset="77"/>
              </a:rPr>
              <a:t>2</a:t>
            </a:r>
            <a:r>
              <a:rPr lang="es-CL" sz="1600" dirty="0">
                <a:solidFill>
                  <a:schemeClr val="bg1"/>
                </a:solidFill>
                <a:latin typeface="ACHS Nueva Sans Medium" pitchFamily="2" charset="77"/>
              </a:rPr>
              <a:t> </a:t>
            </a:r>
          </a:p>
        </p:txBody>
      </p:sp>
      <p:sp>
        <p:nvSpPr>
          <p:cNvPr id="43" name="Freeform 22">
            <a:extLst>
              <a:ext uri="{FF2B5EF4-FFF2-40B4-BE49-F238E27FC236}">
                <a16:creationId xmlns="" xmlns:a16="http://schemas.microsoft.com/office/drawing/2014/main" id="{1D2DECEC-4920-AE45-AEBF-B95DC051C3C7}"/>
              </a:ext>
            </a:extLst>
          </p:cNvPr>
          <p:cNvSpPr/>
          <p:nvPr/>
        </p:nvSpPr>
        <p:spPr>
          <a:xfrm>
            <a:off x="3704371" y="4608283"/>
            <a:ext cx="2548498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t-IT" sz="1600" dirty="0">
                <a:solidFill>
                  <a:schemeClr val="bg1"/>
                </a:solidFill>
                <a:latin typeface="ACHS Nueva Sans Medium" pitchFamily="2" charset="77"/>
              </a:rPr>
              <a:t>Antofilita </a:t>
            </a:r>
          </a:p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t-IT" sz="1600" dirty="0">
                <a:solidFill>
                  <a:schemeClr val="bg1"/>
                </a:solidFill>
                <a:latin typeface="ACHS Nueva Sans Medium" pitchFamily="2" charset="77"/>
              </a:rPr>
              <a:t>(Fe,Mg)</a:t>
            </a:r>
            <a:r>
              <a:rPr lang="it-IT" sz="1600" baseline="-25000" dirty="0">
                <a:latin typeface="ACHS Nueva Sans Medium" pitchFamily="2" charset="77"/>
              </a:rPr>
              <a:t>7</a:t>
            </a:r>
            <a:r>
              <a:rPr lang="it-IT" sz="1600" dirty="0">
                <a:solidFill>
                  <a:schemeClr val="bg1"/>
                </a:solidFill>
                <a:latin typeface="ACHS Nueva Sans Medium" pitchFamily="2" charset="77"/>
              </a:rPr>
              <a:t>Si</a:t>
            </a:r>
            <a:r>
              <a:rPr lang="it-IT" sz="1600" baseline="-25000" dirty="0">
                <a:latin typeface="ACHS Nueva Sans Medium" pitchFamily="2" charset="77"/>
              </a:rPr>
              <a:t>8</a:t>
            </a:r>
            <a:r>
              <a:rPr lang="it-IT" sz="1600" dirty="0">
                <a:solidFill>
                  <a:schemeClr val="bg1"/>
                </a:solidFill>
                <a:latin typeface="ACHS Nueva Sans Medium" pitchFamily="2" charset="77"/>
              </a:rPr>
              <a:t>O</a:t>
            </a:r>
            <a:r>
              <a:rPr lang="it-IT" sz="1600" baseline="-25000" dirty="0">
                <a:latin typeface="ACHS Nueva Sans Medium" pitchFamily="2" charset="77"/>
              </a:rPr>
              <a:t>22</a:t>
            </a:r>
            <a:r>
              <a:rPr lang="it-IT" sz="1600" dirty="0">
                <a:solidFill>
                  <a:schemeClr val="bg1"/>
                </a:solidFill>
                <a:latin typeface="ACHS Nueva Sans Medium" pitchFamily="2" charset="77"/>
              </a:rPr>
              <a:t>(OH)</a:t>
            </a:r>
            <a:r>
              <a:rPr lang="it-IT" sz="1600" baseline="-25000" dirty="0">
                <a:latin typeface="ACHS Nueva Sans Medium" pitchFamily="2" charset="77"/>
              </a:rPr>
              <a:t>2</a:t>
            </a:r>
            <a:r>
              <a:rPr lang="it-IT" sz="1600" dirty="0">
                <a:solidFill>
                  <a:schemeClr val="bg1"/>
                </a:solidFill>
                <a:latin typeface="ACHS Nueva Sans Medium" pitchFamily="2" charset="77"/>
              </a:rPr>
              <a:t> </a:t>
            </a:r>
          </a:p>
        </p:txBody>
      </p:sp>
      <p:sp>
        <p:nvSpPr>
          <p:cNvPr id="44" name="Freeform 23">
            <a:extLst>
              <a:ext uri="{FF2B5EF4-FFF2-40B4-BE49-F238E27FC236}">
                <a16:creationId xmlns="" xmlns:a16="http://schemas.microsoft.com/office/drawing/2014/main" id="{3168E327-C518-6946-8158-D14A2FC75C59}"/>
              </a:ext>
            </a:extLst>
          </p:cNvPr>
          <p:cNvSpPr/>
          <p:nvPr/>
        </p:nvSpPr>
        <p:spPr>
          <a:xfrm>
            <a:off x="6359580" y="4608283"/>
            <a:ext cx="2548498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Crocidolita (asbesto azul)</a:t>
            </a:r>
          </a:p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Na(Fe)</a:t>
            </a:r>
            <a:r>
              <a:rPr lang="pt-BR" sz="1600" baseline="-25000" dirty="0">
                <a:latin typeface="ACHS Nueva Sans Medium" pitchFamily="2" charset="77"/>
              </a:rPr>
              <a:t>3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 (Fe)</a:t>
            </a:r>
            <a:r>
              <a:rPr lang="pt-BR" sz="1600" baseline="-25000" dirty="0">
                <a:latin typeface="ACHS Nueva Sans Medium" pitchFamily="2" charset="77"/>
              </a:rPr>
              <a:t>2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Si</a:t>
            </a:r>
            <a:r>
              <a:rPr lang="pt-BR" sz="1600" baseline="-25000" dirty="0">
                <a:latin typeface="ACHS Nueva Sans Medium" pitchFamily="2" charset="77"/>
              </a:rPr>
              <a:t>8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O</a:t>
            </a:r>
            <a:r>
              <a:rPr lang="pt-BR" sz="1600" baseline="-25000" dirty="0">
                <a:latin typeface="ACHS Nueva Sans Medium" pitchFamily="2" charset="77"/>
              </a:rPr>
              <a:t>22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(OH) </a:t>
            </a:r>
            <a:r>
              <a:rPr lang="pt-BR" sz="1600" baseline="-25000" dirty="0">
                <a:latin typeface="ACHS Nueva Sans Medium" pitchFamily="2" charset="77"/>
              </a:rPr>
              <a:t>2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 </a:t>
            </a:r>
            <a:endParaRPr lang="es-CL" sz="1600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sp>
        <p:nvSpPr>
          <p:cNvPr id="45" name="Freeform 23">
            <a:extLst>
              <a:ext uri="{FF2B5EF4-FFF2-40B4-BE49-F238E27FC236}">
                <a16:creationId xmlns="" xmlns:a16="http://schemas.microsoft.com/office/drawing/2014/main" id="{AC7CE37A-207E-3141-96D4-A98753E0B461}"/>
              </a:ext>
            </a:extLst>
          </p:cNvPr>
          <p:cNvSpPr/>
          <p:nvPr/>
        </p:nvSpPr>
        <p:spPr>
          <a:xfrm>
            <a:off x="9003739" y="4636284"/>
            <a:ext cx="2548498" cy="1323952"/>
          </a:xfrm>
          <a:custGeom>
            <a:avLst/>
            <a:gdLst>
              <a:gd name="connsiteX0" fmla="*/ 0 w 2524784"/>
              <a:gd name="connsiteY0" fmla="*/ 0 h 1514870"/>
              <a:gd name="connsiteX1" fmla="*/ 2524784 w 2524784"/>
              <a:gd name="connsiteY1" fmla="*/ 0 h 1514870"/>
              <a:gd name="connsiteX2" fmla="*/ 2524784 w 2524784"/>
              <a:gd name="connsiteY2" fmla="*/ 1514870 h 1514870"/>
              <a:gd name="connsiteX3" fmla="*/ 0 w 2524784"/>
              <a:gd name="connsiteY3" fmla="*/ 1514870 h 1514870"/>
              <a:gd name="connsiteX4" fmla="*/ 0 w 2524784"/>
              <a:gd name="connsiteY4" fmla="*/ 0 h 151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784" h="1514870">
                <a:moveTo>
                  <a:pt x="0" y="0"/>
                </a:moveTo>
                <a:lnTo>
                  <a:pt x="2524784" y="0"/>
                </a:lnTo>
                <a:lnTo>
                  <a:pt x="2524784" y="1514870"/>
                </a:lnTo>
                <a:lnTo>
                  <a:pt x="0" y="151487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022" tIns="79022" rIns="79022" bIns="79022" numCol="1" spcCol="1270" anchor="ctr" anchorCtr="0">
            <a:noAutofit/>
          </a:bodyPr>
          <a:lstStyle/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Actinolita</a:t>
            </a:r>
          </a:p>
          <a:p>
            <a:pPr algn="ctr" defTabSz="92196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Ca</a:t>
            </a:r>
            <a:r>
              <a:rPr lang="pt-BR" sz="1600" baseline="-25000" dirty="0">
                <a:latin typeface="ACHS Nueva Sans Medium" pitchFamily="2" charset="77"/>
              </a:rPr>
              <a:t>2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Mg</a:t>
            </a:r>
            <a:r>
              <a:rPr lang="pt-BR" sz="1600" baseline="-25000" dirty="0">
                <a:latin typeface="ACHS Nueva Sans Medium" pitchFamily="2" charset="77"/>
              </a:rPr>
              <a:t>5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Si</a:t>
            </a:r>
            <a:r>
              <a:rPr lang="pt-BR" sz="1600" baseline="-25000" dirty="0">
                <a:latin typeface="ACHS Nueva Sans Medium" pitchFamily="2" charset="77"/>
              </a:rPr>
              <a:t>8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O</a:t>
            </a:r>
            <a:r>
              <a:rPr lang="pt-BR" sz="1600" baseline="-25000" dirty="0">
                <a:latin typeface="ACHS Nueva Sans Medium" pitchFamily="2" charset="77"/>
              </a:rPr>
              <a:t>22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(OH)</a:t>
            </a:r>
            <a:r>
              <a:rPr lang="pt-BR" sz="1600" baseline="-25000" dirty="0">
                <a:latin typeface="ACHS Nueva Sans Medium" pitchFamily="2" charset="77"/>
              </a:rPr>
              <a:t>2</a:t>
            </a:r>
            <a:r>
              <a:rPr lang="pt-BR" sz="1600" dirty="0">
                <a:solidFill>
                  <a:schemeClr val="bg1"/>
                </a:solidFill>
                <a:latin typeface="ACHS Nueva Sans Medium" pitchFamily="2" charset="77"/>
              </a:rPr>
              <a:t> </a:t>
            </a:r>
            <a:endParaRPr lang="es-CL" sz="1600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207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lasificación del asbesto</a:t>
            </a:r>
          </a:p>
        </p:txBody>
      </p:sp>
      <p:pic>
        <p:nvPicPr>
          <p:cNvPr id="12" name="Picture 7">
            <a:extLst>
              <a:ext uri="{FF2B5EF4-FFF2-40B4-BE49-F238E27FC236}">
                <a16:creationId xmlns="" xmlns:a16="http://schemas.microsoft.com/office/drawing/2014/main" id="{659AC725-1EF7-E14F-9235-565DCE502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5931" y="2171814"/>
            <a:ext cx="4686995" cy="418961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473C4A73-855E-734F-8643-8B4A7907D9FA}"/>
              </a:ext>
            </a:extLst>
          </p:cNvPr>
          <p:cNvSpPr txBox="1">
            <a:spLocks/>
          </p:cNvSpPr>
          <p:nvPr/>
        </p:nvSpPr>
        <p:spPr>
          <a:xfrm>
            <a:off x="3120660" y="962427"/>
            <a:ext cx="3393786" cy="523874"/>
          </a:xfrm>
          <a:prstGeom prst="rect">
            <a:avLst/>
          </a:prstGeom>
          <a:solidFill>
            <a:schemeClr val="accent1"/>
          </a:solidFill>
        </p:spPr>
        <p:txBody>
          <a:bodyPr vert="horz" lIns="108000" tIns="10800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solidFill>
                  <a:schemeClr val="bg1"/>
                </a:solidFill>
                <a:latin typeface="ACHS Nueva Serif" pitchFamily="2" charset="77"/>
              </a:rPr>
              <a:t>Crisotilo (asbesto blanco):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9BBE0C50-1052-8F4C-8503-7DC30A29AF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0660" y="1685176"/>
            <a:ext cx="4932476" cy="49324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409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  <p:tag name="ARTICULATE_DESIGN_ID_TEMA DE OFFICE" val="K3r0bf5P"/>
  <p:tag name="ARTICULATE_SLIDE_COUNT" val="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2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2D3DDD27-8543-4F92-A267-8187762BD6BA}"/>
</file>

<file path=customXml/itemProps2.xml><?xml version="1.0" encoding="utf-8"?>
<ds:datastoreItem xmlns:ds="http://schemas.openxmlformats.org/officeDocument/2006/customXml" ds:itemID="{D354CEA4-31F4-4602-86F3-F20C45B00EF5}"/>
</file>

<file path=customXml/itemProps3.xml><?xml version="1.0" encoding="utf-8"?>
<ds:datastoreItem xmlns:ds="http://schemas.openxmlformats.org/officeDocument/2006/customXml" ds:itemID="{708A63AD-295E-4250-933B-27B681D7F402}"/>
</file>

<file path=docProps/app.xml><?xml version="1.0" encoding="utf-8"?>
<Properties xmlns="http://schemas.openxmlformats.org/officeDocument/2006/extended-properties" xmlns:vt="http://schemas.openxmlformats.org/officeDocument/2006/docPropsVTypes">
  <TotalTime>2180</TotalTime>
  <Words>2516</Words>
  <Application>Microsoft Office PowerPoint</Application>
  <PresentationFormat>Panorámica</PresentationFormat>
  <Paragraphs>257</Paragraphs>
  <Slides>48</Slides>
  <Notes>44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8</vt:i4>
      </vt:variant>
    </vt:vector>
  </HeadingPairs>
  <TitlesOfParts>
    <vt:vector size="61" baseType="lpstr">
      <vt:lpstr>ACHS Nueva Sans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Helvetica Neue Medium</vt:lpstr>
      <vt:lpstr>Wingdings</vt:lpstr>
      <vt:lpstr>Tema de Office</vt:lpstr>
      <vt:lpstr>22_Tema de Office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421</cp:revision>
  <dcterms:created xsi:type="dcterms:W3CDTF">2023-07-11T20:17:04Z</dcterms:created>
  <dcterms:modified xsi:type="dcterms:W3CDTF">2025-01-30T14:5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BF78233-2332-4999-A873-56DA370416EF</vt:lpwstr>
  </property>
  <property fmtid="{D5CDD505-2E9C-101B-9397-08002B2CF9AE}" pid="3" name="ArticulatePath">
    <vt:lpwstr>659697 - ASBESTO Y SUS RIESGOS ASOCIADOS (PPT)-RB2023</vt:lpwstr>
  </property>
  <property fmtid="{D5CDD505-2E9C-101B-9397-08002B2CF9AE}" pid="4" name="ContentTypeId">
    <vt:lpwstr>0x0101007C36543F3D857D488921B9E8F0F0A212</vt:lpwstr>
  </property>
</Properties>
</file>